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media/image18.svg" ContentType="image/svg+xml"/>
  <Override PartName="/ppt/media/image20.svg" ContentType="image/svg+xml"/>
  <Override PartName="/ppt/media/image22.svg" ContentType="image/svg+xml"/>
  <Override PartName="/ppt/media/image24.svg" ContentType="image/svg+xml"/>
  <Override PartName="/ppt/media/image2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 id="2147483670" r:id="rId4"/>
    <p:sldMasterId id="2147483679" r:id="rId5"/>
    <p:sldMasterId id="2147483689" r:id="rId6"/>
    <p:sldMasterId id="2147483702" r:id="rId7"/>
    <p:sldMasterId id="2147483715" r:id="rId8"/>
    <p:sldMasterId id="2147483727" r:id="rId9"/>
    <p:sldMasterId id="2147483740" r:id="rId10"/>
    <p:sldMasterId id="2147483748" r:id="rId11"/>
    <p:sldMasterId id="2147483761" r:id="rId12"/>
    <p:sldMasterId id="2147483769" r:id="rId13"/>
    <p:sldMasterId id="2147483777" r:id="rId14"/>
    <p:sldMasterId id="2147483789" r:id="rId15"/>
    <p:sldMasterId id="2147483797" r:id="rId16"/>
  </p:sldMasterIdLst>
  <p:notesMasterIdLst>
    <p:notesMasterId r:id="rId18"/>
  </p:notesMasterIdLst>
  <p:sldIdLst>
    <p:sldId id="260" r:id="rId17"/>
    <p:sldId id="266" r:id="rId19"/>
    <p:sldId id="276" r:id="rId20"/>
    <p:sldId id="279" r:id="rId21"/>
    <p:sldId id="269"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9" userDrawn="1">
          <p15:clr>
            <a:srgbClr val="A4A3A4"/>
          </p15:clr>
        </p15:guide>
        <p15:guide id="2" pos="38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CDCDC"/>
    <a:srgbClr val="F0F0F0"/>
    <a:srgbClr val="E6E6E6"/>
    <a:srgbClr val="C8C8C8"/>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showGuides="1">
      <p:cViewPr varScale="1">
        <p:scale>
          <a:sx n="99" d="100"/>
          <a:sy n="99" d="100"/>
        </p:scale>
        <p:origin x="84" y="582"/>
      </p:cViewPr>
      <p:guideLst>
        <p:guide orient="horz" pos="2149"/>
        <p:guide pos="3806"/>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8" Type="http://schemas.openxmlformats.org/officeDocument/2006/relationships/slideMaster" Target="slideMasters/slideMaster7.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slide" Target="slides/slide5.xml"/><Relationship Id="rId21" Type="http://schemas.openxmlformats.org/officeDocument/2006/relationships/slide" Target="slides/slide4.xml"/><Relationship Id="rId20" Type="http://schemas.openxmlformats.org/officeDocument/2006/relationships/slide" Target="slides/slide3.xml"/><Relationship Id="rId2" Type="http://schemas.openxmlformats.org/officeDocument/2006/relationships/theme" Target="theme/theme1.xml"/><Relationship Id="rId19" Type="http://schemas.openxmlformats.org/officeDocument/2006/relationships/slide" Target="slides/slide2.xml"/><Relationship Id="rId18" Type="http://schemas.openxmlformats.org/officeDocument/2006/relationships/notesMaster" Target="notesMasters/notesMaster1.xml"/><Relationship Id="rId17" Type="http://schemas.openxmlformats.org/officeDocument/2006/relationships/slide" Target="slides/slide1.xml"/><Relationship Id="rId16" Type="http://schemas.openxmlformats.org/officeDocument/2006/relationships/slideMaster" Target="slideMasters/slideMaster15.xml"/><Relationship Id="rId15" Type="http://schemas.openxmlformats.org/officeDocument/2006/relationships/slideMaster" Target="slideMasters/slideMaster14.xml"/><Relationship Id="rId14" Type="http://schemas.openxmlformats.org/officeDocument/2006/relationships/slideMaster" Target="slideMasters/slideMaster13.xml"/><Relationship Id="rId13" Type="http://schemas.openxmlformats.org/officeDocument/2006/relationships/slideMaster" Target="slideMasters/slideMaster12.xml"/><Relationship Id="rId12" Type="http://schemas.openxmlformats.org/officeDocument/2006/relationships/slideMaster" Target="slideMasters/slideMaster11.xml"/><Relationship Id="rId11" Type="http://schemas.openxmlformats.org/officeDocument/2006/relationships/slideMaster" Target="slideMasters/slideMaster10.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24037;&#20316;&#31807;1" TargetMode="External"/></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oleObject" Target="file:///C:\Users\&#40644;&#26224;\Desktop\&#26862;&#19990;&#28023;&#20122;\2025&#24180;&#32456;&#27719;&#25253;&#26448;&#26009;\&#36816;&#32500;&#25968;&#25454;.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oleObject" Target="file:///C:\Users\&#40644;&#26224;\Desktop\&#26862;&#19990;&#28023;&#20122;\2025&#24180;&#32456;&#27719;&#25253;&#26448;&#26009;\&#26862;&#19990;&#28023;&#20122;&#38656;&#27714;&#25968;&#2545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defTabSz="914400">
              <a:defRPr lang="zh-CN" sz="1400" b="0" i="0" u="none" strike="noStrike" kern="1200" spc="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t>远大2025年运维情况</a:t>
            </a:r>
          </a:p>
        </c:rich>
      </c:tx>
      <c:layout/>
      <c:overlay val="0"/>
      <c:spPr>
        <a:noFill/>
        <a:ln>
          <a:noFill/>
        </a:ln>
        <a:effectLst/>
      </c:spPr>
    </c:title>
    <c:autoTitleDeleted val="0"/>
    <c:plotArea>
      <c:layout/>
      <c:barChart>
        <c:barDir val="col"/>
        <c:grouping val="clustered"/>
        <c:varyColors val="0"/>
        <c:ser>
          <c:idx val="0"/>
          <c:order val="0"/>
          <c:tx>
            <c:strRef>
              <c:f>[工作簿1]Sheet2!$I$4</c:f>
              <c:strCache>
                <c:ptCount val="1"/>
                <c:pt idx="0">
                  <c:v>总计</c:v>
                </c:pt>
              </c:strCache>
            </c:strRef>
          </c:tx>
          <c:spPr>
            <a:solidFill>
              <a:schemeClr val="accent1"/>
            </a:solidFill>
            <a:ln>
              <a:noFill/>
            </a:ln>
            <a:effectLst>
              <a:outerShdw blurRad="38100" dist="63500" dir="2700000" algn="tl" rotWithShape="0">
                <a:schemeClr val="accent1">
                  <a:alpha val="40000"/>
                </a:schemeClr>
              </a:outerShdw>
            </a:effectLst>
          </c:spPr>
          <c:invertIfNegative val="0"/>
          <c:dLbls>
            <c:delete val="1"/>
          </c:dLbls>
          <c:cat>
            <c:strRef>
              <c:f>[工作簿1]Sheet2!$H$5:$H$16</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工作簿1]Sheet2!$I$5:$I$16</c:f>
              <c:numCache>
                <c:formatCode>General</c:formatCode>
                <c:ptCount val="12"/>
                <c:pt idx="0">
                  <c:v>704</c:v>
                </c:pt>
                <c:pt idx="1">
                  <c:v>423</c:v>
                </c:pt>
                <c:pt idx="2">
                  <c:v>556</c:v>
                </c:pt>
                <c:pt idx="3">
                  <c:v>497</c:v>
                </c:pt>
                <c:pt idx="4">
                  <c:v>481</c:v>
                </c:pt>
                <c:pt idx="5">
                  <c:v>344</c:v>
                </c:pt>
                <c:pt idx="6">
                  <c:v>416</c:v>
                </c:pt>
                <c:pt idx="7">
                  <c:v>331</c:v>
                </c:pt>
                <c:pt idx="8">
                  <c:v>445</c:v>
                </c:pt>
                <c:pt idx="9">
                  <c:v>352</c:v>
                </c:pt>
                <c:pt idx="10">
                  <c:v>479</c:v>
                </c:pt>
                <c:pt idx="11">
                  <c:v>539</c:v>
                </c:pt>
              </c:numCache>
            </c:numRef>
          </c:val>
        </c:ser>
        <c:dLbls>
          <c:showLegendKey val="0"/>
          <c:showVal val="0"/>
          <c:showCatName val="0"/>
          <c:showSerName val="0"/>
          <c:showPercent val="0"/>
          <c:showBubbleSize val="0"/>
        </c:dLbls>
        <c:gapWidth val="150"/>
        <c:overlap val="0"/>
        <c:axId val="311388438"/>
        <c:axId val="127157545"/>
      </c:barChart>
      <c:lineChart>
        <c:grouping val="standard"/>
        <c:varyColors val="0"/>
        <c:ser>
          <c:idx val="1"/>
          <c:order val="1"/>
          <c:tx>
            <c:strRef>
              <c:f>[工作簿1]Sheet2!$J$4</c:f>
              <c:strCache>
                <c:ptCount val="1"/>
                <c:pt idx="0">
                  <c:v>占比</c:v>
                </c:pt>
              </c:strCache>
            </c:strRef>
          </c:tx>
          <c:spPr>
            <a:ln w="28575" cap="rnd">
              <a:solidFill>
                <a:schemeClr val="accent2"/>
              </a:solidFill>
              <a:round/>
            </a:ln>
            <a:effectLst>
              <a:outerShdw blurRad="38100" dist="63500" dir="2700000" algn="tl" rotWithShape="0">
                <a:schemeClr val="accent2">
                  <a:alpha val="40000"/>
                </a:schemeClr>
              </a:outerShdw>
            </a:effectLst>
          </c:spPr>
          <c:marker>
            <c:symbol val="diamond"/>
            <c:size val="8"/>
            <c:spPr>
              <a:solidFill>
                <a:schemeClr val="bg1"/>
              </a:solidFill>
              <a:ln w="31750">
                <a:solidFill>
                  <a:schemeClr val="accent2"/>
                </a:solidFill>
              </a:ln>
              <a:effectLst/>
            </c:spPr>
          </c:marker>
          <c:dLbls>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工作簿1]Sheet2!$H$5:$H$16</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工作簿1]Sheet2!$J$5:$J$16</c:f>
              <c:numCache>
                <c:formatCode>0.00%</c:formatCode>
                <c:ptCount val="12"/>
                <c:pt idx="0">
                  <c:v>0.126436781609195</c:v>
                </c:pt>
                <c:pt idx="1">
                  <c:v>0.0759698275862069</c:v>
                </c:pt>
                <c:pt idx="2">
                  <c:v>0.0998563218390805</c:v>
                </c:pt>
                <c:pt idx="3">
                  <c:v>0.0892600574712644</c:v>
                </c:pt>
                <c:pt idx="4">
                  <c:v>0.0863864942528736</c:v>
                </c:pt>
                <c:pt idx="5">
                  <c:v>0.0617816091954023</c:v>
                </c:pt>
                <c:pt idx="6">
                  <c:v>0.0747126436781609</c:v>
                </c:pt>
                <c:pt idx="7">
                  <c:v>0.0594468390804598</c:v>
                </c:pt>
                <c:pt idx="8">
                  <c:v>0.0799209770114943</c:v>
                </c:pt>
                <c:pt idx="9">
                  <c:v>0.0632183908045977</c:v>
                </c:pt>
                <c:pt idx="10">
                  <c:v>0.0860272988505747</c:v>
                </c:pt>
                <c:pt idx="11">
                  <c:v>0.0968031609195402</c:v>
                </c:pt>
              </c:numCache>
            </c:numRef>
          </c:val>
          <c:smooth val="0"/>
        </c:ser>
        <c:dLbls>
          <c:showLegendKey val="0"/>
          <c:showVal val="0"/>
          <c:showCatName val="0"/>
          <c:showSerName val="0"/>
          <c:showPercent val="0"/>
          <c:showBubbleSize val="0"/>
        </c:dLbls>
        <c:marker val="1"/>
        <c:smooth val="0"/>
        <c:axId val="81163794"/>
        <c:axId val="111126618"/>
      </c:lineChart>
      <c:catAx>
        <c:axId val="81163794"/>
        <c:scaling>
          <c:orientation val="minMax"/>
        </c:scaling>
        <c:delete val="0"/>
        <c:axPos val="b"/>
        <c:minorGridlines>
          <c:spPr>
            <a:ln w="9525" cap="flat" cmpd="sng" algn="ctr">
              <a:solidFill>
                <a:schemeClr val="accent1">
                  <a:lumMod val="40000"/>
                  <a:lumOff val="60000"/>
                  <a:alpha val="50000"/>
                </a:schemeClr>
              </a:solidFill>
              <a:prstDash val="solid"/>
              <a:round/>
            </a:ln>
            <a:effectLst/>
          </c:spPr>
        </c:minorGridlines>
        <c:numFmt formatCode="General" sourceLinked="1"/>
        <c:majorTickMark val="none"/>
        <c:minorTickMark val="none"/>
        <c:tickLblPos val="nextTo"/>
        <c:spPr>
          <a:noFill/>
          <a:ln w="9525" cap="flat" cmpd="sng" algn="ctr">
            <a:noFill/>
            <a:round/>
            <a:tailEnd type="triangle"/>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111126618"/>
        <c:crosses val="autoZero"/>
        <c:auto val="1"/>
        <c:lblAlgn val="ctr"/>
        <c:lblOffset val="100"/>
        <c:noMultiLvlLbl val="0"/>
      </c:catAx>
      <c:valAx>
        <c:axId val="111126618"/>
        <c:scaling>
          <c:orientation val="minMax"/>
        </c:scaling>
        <c:delete val="0"/>
        <c:axPos val="l"/>
        <c:majorGridlines>
          <c:spPr>
            <a:ln w="9525" cap="flat" cmpd="sng" algn="ctr">
              <a:solidFill>
                <a:schemeClr val="accent1">
                  <a:lumMod val="40000"/>
                  <a:lumOff val="60000"/>
                  <a:alpha val="50000"/>
                </a:schemeClr>
              </a:solidFill>
              <a:prstDash val="solid"/>
              <a:round/>
            </a:ln>
            <a:effectLst/>
          </c:spPr>
        </c:majorGridlines>
        <c:numFmt formatCode="0.00%" sourceLinked="1"/>
        <c:majorTickMark val="none"/>
        <c:minorTickMark val="none"/>
        <c:tickLblPos val="nextTo"/>
        <c:spPr>
          <a:noFill/>
          <a:ln>
            <a:noFill/>
            <a:headEnd type="none"/>
            <a:tailEnd type="triangle"/>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81163794"/>
        <c:crosses val="autoZero"/>
        <c:crossBetween val="between"/>
      </c:valAx>
      <c:catAx>
        <c:axId val="311388438"/>
        <c:scaling>
          <c:orientation val="minMax"/>
        </c:scaling>
        <c:delete val="1"/>
        <c:axPos val="b"/>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127157545"/>
        <c:crosses val="autoZero"/>
        <c:auto val="1"/>
        <c:lblAlgn val="ctr"/>
        <c:lblOffset val="100"/>
        <c:noMultiLvlLbl val="0"/>
      </c:catAx>
      <c:valAx>
        <c:axId val="127157545"/>
        <c:scaling>
          <c:orientation val="minMax"/>
        </c:scaling>
        <c:delete val="0"/>
        <c:axPos val="r"/>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311388438"/>
        <c:crosses val="max"/>
        <c:crossBetween val="between"/>
      </c:valAx>
      <c:spPr>
        <a:noFill/>
        <a:ln>
          <a:gradFill>
            <a:gsLst>
              <a:gs pos="50000">
                <a:schemeClr val="accent1">
                  <a:lumMod val="5000"/>
                  <a:lumOff val="95000"/>
                  <a:alpha val="0"/>
                </a:schemeClr>
              </a:gs>
              <a:gs pos="0">
                <a:schemeClr val="accent1"/>
              </a:gs>
              <a:gs pos="100000">
                <a:schemeClr val="accent1"/>
              </a:gs>
            </a:gsLst>
            <a:lin ang="13500000" scaled="1"/>
          </a:gradFill>
        </a:ln>
        <a:effectLst/>
      </c:spPr>
    </c:plotArea>
    <c:legend>
      <c:legendPos val="t"/>
      <c:layout/>
      <c:overlay val="0"/>
      <c:spPr>
        <a:noFill/>
        <a:ln>
          <a:noFill/>
        </a:ln>
        <a:effectLst/>
      </c:spPr>
      <c:txPr>
        <a:bodyPr rot="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legend>
    <c:plotVisOnly val="1"/>
    <c:dispBlanksAs val="gap"/>
    <c:showDLblsOverMax val="0"/>
    <c:extLst>
      <c:ext uri="{0b15fc19-7d7d-44ad-8c2d-2c3a37ce22c3}">
        <chartProps xmlns="https://web.wps.cn/et/2018/main" chartId="{10b07456-52cd-4f34-972e-5652b9d89ea9}"/>
      </c:ext>
    </c:extLst>
  </c:chart>
  <c:spPr>
    <a:noFill/>
    <a:ln w="6350" cap="flat" cmpd="sng" algn="ctr">
      <a:noFill/>
      <a:round/>
    </a:ln>
    <a:effectLst/>
  </c:spPr>
  <c:txPr>
    <a:bodyPr/>
    <a:lstStyle/>
    <a:p>
      <a:pPr>
        <a:defRPr 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a:defRPr lang="zh-CN" sz="1400" b="0" i="0" u="none" strike="noStrike" kern="1200" spc="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t>森世海亚</a:t>
            </a:r>
            <a:r>
              <a:rPr lang="en-US" altLang="zh-CN"/>
              <a:t>2025</a:t>
            </a:r>
            <a:r>
              <a:t>年运维情况</a:t>
            </a:r>
          </a:p>
        </c:rich>
      </c:tx>
      <c:layout/>
      <c:overlay val="0"/>
      <c:spPr>
        <a:noFill/>
        <a:ln>
          <a:noFill/>
        </a:ln>
        <a:effectLst/>
      </c:spPr>
    </c:title>
    <c:autoTitleDeleted val="0"/>
    <c:plotArea>
      <c:layout/>
      <c:barChart>
        <c:barDir val="col"/>
        <c:grouping val="clustered"/>
        <c:varyColors val="0"/>
        <c:ser>
          <c:idx val="0"/>
          <c:order val="0"/>
          <c:tx>
            <c:strRef>
              <c:f>[运维数据.xlsx]Sheet2!$F$67</c:f>
              <c:strCache>
                <c:ptCount val="1"/>
                <c:pt idx="0">
                  <c:v>数量</c:v>
                </c:pt>
              </c:strCache>
            </c:strRef>
          </c:tx>
          <c:spPr>
            <a:solidFill>
              <a:schemeClr val="accent1"/>
            </a:solidFill>
            <a:ln>
              <a:noFill/>
            </a:ln>
            <a:effectLst>
              <a:outerShdw blurRad="38100" dist="63500" dir="2700000" algn="tl" rotWithShape="0">
                <a:schemeClr val="accent1">
                  <a:alpha val="40000"/>
                </a:schemeClr>
              </a:outerShdw>
            </a:effectLst>
          </c:spPr>
          <c:invertIfNegative val="0"/>
          <c:dLbls>
            <c:delete val="1"/>
          </c:dLbls>
          <c:cat>
            <c:strRef>
              <c:f>[运维数据.xlsx]Sheet2!$E$68:$E$79</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运维数据.xlsx]Sheet2!$F$68:$F$79</c:f>
              <c:numCache>
                <c:formatCode>General</c:formatCode>
                <c:ptCount val="12"/>
                <c:pt idx="0">
                  <c:v>198</c:v>
                </c:pt>
                <c:pt idx="1">
                  <c:v>385</c:v>
                </c:pt>
                <c:pt idx="2">
                  <c:v>347</c:v>
                </c:pt>
                <c:pt idx="3">
                  <c:v>165</c:v>
                </c:pt>
                <c:pt idx="4">
                  <c:v>131</c:v>
                </c:pt>
                <c:pt idx="5">
                  <c:v>105</c:v>
                </c:pt>
                <c:pt idx="6">
                  <c:v>77</c:v>
                </c:pt>
                <c:pt idx="7">
                  <c:v>70</c:v>
                </c:pt>
                <c:pt idx="8">
                  <c:v>82</c:v>
                </c:pt>
                <c:pt idx="9">
                  <c:v>38</c:v>
                </c:pt>
                <c:pt idx="10">
                  <c:v>65</c:v>
                </c:pt>
                <c:pt idx="11">
                  <c:v>63</c:v>
                </c:pt>
              </c:numCache>
            </c:numRef>
          </c:val>
        </c:ser>
        <c:dLbls>
          <c:showLegendKey val="0"/>
          <c:showVal val="0"/>
          <c:showCatName val="0"/>
          <c:showSerName val="0"/>
          <c:showPercent val="0"/>
          <c:showBubbleSize val="0"/>
        </c:dLbls>
        <c:gapWidth val="150"/>
        <c:overlap val="0"/>
        <c:axId val="713915657"/>
        <c:axId val="408278484"/>
      </c:barChart>
      <c:lineChart>
        <c:grouping val="standard"/>
        <c:varyColors val="0"/>
        <c:ser>
          <c:idx val="1"/>
          <c:order val="1"/>
          <c:tx>
            <c:strRef>
              <c:f>[运维数据.xlsx]Sheet2!$G$67</c:f>
              <c:strCache>
                <c:ptCount val="1"/>
                <c:pt idx="0">
                  <c:v>占比</c:v>
                </c:pt>
              </c:strCache>
            </c:strRef>
          </c:tx>
          <c:spPr>
            <a:ln w="28575" cap="rnd">
              <a:solidFill>
                <a:schemeClr val="accent2"/>
              </a:solidFill>
              <a:round/>
            </a:ln>
            <a:effectLst>
              <a:outerShdw blurRad="38100" dist="63500" dir="2700000" algn="tl" rotWithShape="0">
                <a:schemeClr val="accent2">
                  <a:alpha val="40000"/>
                </a:schemeClr>
              </a:outerShdw>
            </a:effectLst>
          </c:spPr>
          <c:marker>
            <c:symbol val="none"/>
          </c:marker>
          <c:dLbls>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运维数据.xlsx]Sheet2!$E$68:$E$79</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运维数据.xlsx]Sheet2!$G$68:$G$79</c:f>
              <c:numCache>
                <c:formatCode>0.00%</c:formatCode>
                <c:ptCount val="12"/>
                <c:pt idx="0">
                  <c:v>0.114716106604867</c:v>
                </c:pt>
                <c:pt idx="1">
                  <c:v>0.22305909617613</c:v>
                </c:pt>
                <c:pt idx="2">
                  <c:v>0.201042873696408</c:v>
                </c:pt>
                <c:pt idx="3">
                  <c:v>0.0955967555040556</c:v>
                </c:pt>
                <c:pt idx="4">
                  <c:v>0.0758980301274623</c:v>
                </c:pt>
                <c:pt idx="5">
                  <c:v>0.0608342989571263</c:v>
                </c:pt>
                <c:pt idx="6">
                  <c:v>0.044611819235226</c:v>
                </c:pt>
                <c:pt idx="7">
                  <c:v>0.0405561993047509</c:v>
                </c:pt>
                <c:pt idx="8">
                  <c:v>0.0475086906141367</c:v>
                </c:pt>
                <c:pt idx="9">
                  <c:v>0.0220162224797219</c:v>
                </c:pt>
                <c:pt idx="10">
                  <c:v>0.0376593279258401</c:v>
                </c:pt>
                <c:pt idx="11">
                  <c:v>0.0365005793742758</c:v>
                </c:pt>
              </c:numCache>
            </c:numRef>
          </c:val>
          <c:smooth val="0"/>
        </c:ser>
        <c:dLbls>
          <c:showLegendKey val="0"/>
          <c:showVal val="1"/>
          <c:showCatName val="0"/>
          <c:showSerName val="0"/>
          <c:showPercent val="0"/>
          <c:showBubbleSize val="0"/>
        </c:dLbls>
        <c:marker val="0"/>
        <c:smooth val="0"/>
        <c:axId val="135777762"/>
        <c:axId val="946221830"/>
      </c:lineChart>
      <c:catAx>
        <c:axId val="713915657"/>
        <c:scaling>
          <c:orientation val="minMax"/>
        </c:scaling>
        <c:delete val="0"/>
        <c:axPos val="b"/>
        <c:minorGridlines>
          <c:spPr>
            <a:ln w="9525" cap="flat" cmpd="sng" algn="ctr">
              <a:solidFill>
                <a:schemeClr val="accent1">
                  <a:lumMod val="40000"/>
                  <a:lumOff val="60000"/>
                  <a:alpha val="50000"/>
                </a:schemeClr>
              </a:solidFill>
              <a:prstDash val="solid"/>
              <a:round/>
            </a:ln>
            <a:effectLst/>
          </c:spPr>
        </c:minorGridlines>
        <c:numFmt formatCode="General" sourceLinked="1"/>
        <c:majorTickMark val="none"/>
        <c:minorTickMark val="none"/>
        <c:tickLblPos val="nextTo"/>
        <c:spPr>
          <a:noFill/>
          <a:ln w="9525" cap="flat" cmpd="sng" algn="ctr">
            <a:noFill/>
            <a:round/>
            <a:tailEnd type="triangle"/>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408278484"/>
        <c:crosses val="autoZero"/>
        <c:auto val="1"/>
        <c:lblAlgn val="ctr"/>
        <c:lblOffset val="100"/>
        <c:noMultiLvlLbl val="0"/>
      </c:catAx>
      <c:valAx>
        <c:axId val="408278484"/>
        <c:scaling>
          <c:orientation val="minMax"/>
        </c:scaling>
        <c:delete val="0"/>
        <c:axPos val="l"/>
        <c:majorGridlines>
          <c:spPr>
            <a:ln w="9525" cap="flat" cmpd="sng" algn="ctr">
              <a:solidFill>
                <a:schemeClr val="accent1">
                  <a:lumMod val="40000"/>
                  <a:lumOff val="60000"/>
                  <a:alpha val="50000"/>
                </a:schemeClr>
              </a:solidFill>
              <a:prstDash val="solid"/>
              <a:round/>
            </a:ln>
            <a:effectLst/>
          </c:spPr>
        </c:majorGridlines>
        <c:numFmt formatCode="General" sourceLinked="1"/>
        <c:majorTickMark val="none"/>
        <c:minorTickMark val="none"/>
        <c:tickLblPos val="nextTo"/>
        <c:spPr>
          <a:noFill/>
          <a:ln>
            <a:noFill/>
            <a:headEnd type="none"/>
            <a:tailEnd type="triangle"/>
          </a:ln>
          <a:effectLst/>
        </c:spPr>
        <c:txPr>
          <a:bodyPr rot="-6000000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713915657"/>
        <c:crosses val="autoZero"/>
        <c:crossBetween val="between"/>
      </c:valAx>
      <c:catAx>
        <c:axId val="135777762"/>
        <c:scaling>
          <c:orientation val="minMax"/>
        </c:scaling>
        <c:delete val="1"/>
        <c:axPos val="b"/>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946221830"/>
        <c:crosses val="autoZero"/>
        <c:auto val="1"/>
        <c:lblAlgn val="ctr"/>
        <c:lblOffset val="100"/>
        <c:noMultiLvlLbl val="0"/>
      </c:catAx>
      <c:valAx>
        <c:axId val="946221830"/>
        <c:scaling>
          <c:orientation val="minMax"/>
        </c:scaling>
        <c:delete val="0"/>
        <c:axPos val="r"/>
        <c:numFmt formatCode="0.00%" sourceLinked="1"/>
        <c:majorTickMark val="none"/>
        <c:minorTickMark val="none"/>
        <c:tickLblPos val="nextTo"/>
        <c:spPr>
          <a:noFill/>
          <a:ln>
            <a:noFill/>
          </a:ln>
          <a:effectLst/>
        </c:spPr>
        <c:txPr>
          <a:bodyPr rot="-60000000" spcFirstLastPara="0" vertOverflow="ellipsis" vert="horz" wrap="square"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135777762"/>
        <c:crosses val="max"/>
        <c:crossBetween val="between"/>
      </c:valAx>
      <c:spPr>
        <a:noFill/>
        <a:ln>
          <a:gradFill>
            <a:gsLst>
              <a:gs pos="50000">
                <a:schemeClr val="accent1">
                  <a:lumMod val="5000"/>
                  <a:lumOff val="95000"/>
                  <a:alpha val="0"/>
                </a:schemeClr>
              </a:gs>
              <a:gs pos="0">
                <a:schemeClr val="accent1"/>
              </a:gs>
              <a:gs pos="100000">
                <a:schemeClr val="accent1"/>
              </a:gs>
            </a:gsLst>
            <a:lin ang="13500000" scaled="1"/>
          </a:gradFill>
        </a:ln>
        <a:effectLst/>
      </c:spPr>
    </c:plotArea>
    <c:legend>
      <c:legendPos val="t"/>
      <c:layout/>
      <c:overlay val="0"/>
      <c:spPr>
        <a:noFill/>
        <a:ln>
          <a:noFill/>
        </a:ln>
        <a:effectLst/>
      </c:spPr>
      <c:txPr>
        <a:bodyPr rot="0" spcFirstLastPara="0" vertOverflow="ellipsis" vert="horz" wrap="square" anchor="ctr" anchorCtr="1" forceAA="0"/>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legend>
    <c:plotVisOnly val="1"/>
    <c:dispBlanksAs val="gap"/>
    <c:showDLblsOverMax val="0"/>
    <c:extLst>
      <c:ext uri="{0b15fc19-7d7d-44ad-8c2d-2c3a37ce22c3}">
        <chartProps xmlns="https://web.wps.cn/et/2018/main" chartId="{1bd98980-7a4f-420e-8ed0-1692be439e8e}"/>
      </c:ext>
    </c:extLst>
  </c:chart>
  <c:spPr>
    <a:noFill/>
    <a:ln w="6350" cap="flat" cmpd="sng" algn="ctr">
      <a:noFill/>
      <a:round/>
    </a:ln>
    <a:effectLst/>
  </c:spPr>
  <c:txPr>
    <a:bodyPr/>
    <a:lstStyle/>
    <a:p>
      <a:pPr>
        <a:defRPr lang="zh-CN">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forceAA="0"/>
          <a:lstStyle/>
          <a:p>
            <a:pPr>
              <a:defRPr lang="zh-CN" sz="1400" b="0" i="0" u="none" strike="noStrike" kern="1200" spc="0" baseline="0">
                <a:solidFill>
                  <a:schemeClr val="tx1">
                    <a:lumMod val="75000"/>
                    <a:lumOff val="25000"/>
                  </a:schemeClr>
                </a:solidFill>
                <a:latin typeface="微软雅黑" panose="020B0503020204020204" charset="-122"/>
                <a:ea typeface="微软雅黑" panose="020B0503020204020204" charset="-122"/>
                <a:cs typeface="+mn-cs"/>
              </a:defRPr>
            </a:pPr>
            <a:r>
              <a:t>森世海亚2025年需求跟进情况</a:t>
            </a:r>
          </a:p>
          <a:p>
            <a:pPr>
              <a:defRPr lang="zh-CN" sz="1400" b="0" i="0" u="none" strike="noStrike" kern="1200" spc="0" baseline="0">
                <a:solidFill>
                  <a:schemeClr val="tx1">
                    <a:lumMod val="75000"/>
                    <a:lumOff val="25000"/>
                  </a:schemeClr>
                </a:solidFill>
                <a:latin typeface="微软雅黑" panose="020B0503020204020204" charset="-122"/>
                <a:ea typeface="微软雅黑" panose="020B0503020204020204" charset="-122"/>
                <a:cs typeface="+mn-cs"/>
              </a:defRPr>
            </a:pPr>
          </a:p>
        </c:rich>
      </c:tx>
      <c:layout/>
      <c:overlay val="0"/>
      <c:spPr>
        <a:noFill/>
        <a:ln>
          <a:noFill/>
        </a:ln>
        <a:effectLst/>
      </c:spPr>
    </c:title>
    <c:autoTitleDeleted val="0"/>
    <c:plotArea>
      <c:layout/>
      <c:pieChart>
        <c:varyColors val="1"/>
        <c:ser>
          <c:idx val="0"/>
          <c:order val="0"/>
          <c:tx>
            <c:strRef>
              <c:f>[森世海亚需求数据.xlsx]Sheet2!$E$3</c:f>
              <c:strCache>
                <c:ptCount val="1"/>
                <c:pt idx="0">
                  <c:v>需求数</c:v>
                </c:pt>
              </c:strCache>
            </c:strRef>
          </c:tx>
          <c:spPr>
            <a:ln w="15875">
              <a:noFill/>
            </a:ln>
            <a:effectLst>
              <a:outerShdw blurRad="63500" sx="102000" sy="102000" algn="ctr" rotWithShape="0">
                <a:schemeClr val="tx1">
                  <a:lumMod val="50000"/>
                  <a:lumOff val="50000"/>
                  <a:alpha val="40000"/>
                </a:schemeClr>
              </a:outerShdw>
            </a:effectLst>
          </c:spPr>
          <c:explosion val="0"/>
          <c:dPt>
            <c:idx val="0"/>
            <c:bubble3D val="0"/>
            <c:explosion val="10"/>
            <c:spPr>
              <a:solidFill>
                <a:schemeClr val="accent1"/>
              </a:solidFill>
              <a:ln w="15875">
                <a:noFill/>
              </a:ln>
              <a:effectLst>
                <a:outerShdw blurRad="63500" sx="102000" sy="102000" algn="ctr" rotWithShape="0">
                  <a:schemeClr val="tx1">
                    <a:lumMod val="50000"/>
                    <a:lumOff val="50000"/>
                    <a:alpha val="40000"/>
                  </a:schemeClr>
                </a:outerShdw>
              </a:effectLst>
            </c:spPr>
          </c:dPt>
          <c:dPt>
            <c:idx val="1"/>
            <c:bubble3D val="0"/>
            <c:spPr>
              <a:solidFill>
                <a:schemeClr val="accent2"/>
              </a:solidFill>
              <a:ln w="15875">
                <a:noFill/>
              </a:ln>
              <a:effectLst>
                <a:outerShdw blurRad="63500" sx="102000" sy="102000" algn="ctr" rotWithShape="0">
                  <a:schemeClr val="tx1">
                    <a:lumMod val="50000"/>
                    <a:lumOff val="50000"/>
                    <a:alpha val="40000"/>
                  </a:schemeClr>
                </a:outerShdw>
              </a:effectLst>
            </c:spPr>
          </c:dPt>
          <c:dPt>
            <c:idx val="2"/>
            <c:bubble3D val="0"/>
            <c:spPr>
              <a:solidFill>
                <a:schemeClr val="accent3"/>
              </a:solidFill>
              <a:ln w="15875">
                <a:noFill/>
              </a:ln>
              <a:effectLst>
                <a:outerShdw blurRad="63500" sx="102000" sy="102000" algn="ctr" rotWithShape="0">
                  <a:schemeClr val="tx1">
                    <a:lumMod val="50000"/>
                    <a:lumOff val="50000"/>
                    <a:alpha val="40000"/>
                  </a:schemeClr>
                </a:outerShdw>
              </a:effectLst>
            </c:spPr>
          </c:dPt>
          <c:dLbls>
            <c:numFmt formatCode="General" sourceLinked="1"/>
            <c:spPr>
              <a:noFill/>
              <a:ln>
                <a:noFill/>
              </a:ln>
              <a:effectLst/>
            </c:spPr>
            <c:txPr>
              <a:bodyPr rot="0" spcFirstLastPara="0" vertOverflow="ellipsis" vert="horz" wrap="square" lIns="38100" tIns="19050" rIns="38100" bIns="19050" anchor="ctr" anchorCtr="1" forceAA="0"/>
              <a:lstStyle/>
              <a:p>
                <a:pPr>
                  <a:defRPr lang="zh-CN" sz="900" b="0" i="0" u="none" strike="noStrike" kern="1200" baseline="0">
                    <a:solidFill>
                      <a:schemeClr val="bg1"/>
                    </a:solidFill>
                    <a:latin typeface="微软雅黑" panose="020B0503020204020204" charset="-122"/>
                    <a:ea typeface="微软雅黑" panose="020B0503020204020204" charset="-122"/>
                    <a:cs typeface="+mn-cs"/>
                  </a:defRPr>
                </a:pPr>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森世海亚需求数据.xlsx]Sheet2!$D$4:$D$6</c:f>
              <c:strCache>
                <c:ptCount val="3"/>
                <c:pt idx="0">
                  <c:v>取消</c:v>
                </c:pt>
                <c:pt idx="1">
                  <c:v>未开始</c:v>
                </c:pt>
                <c:pt idx="2">
                  <c:v>已完成</c:v>
                </c:pt>
              </c:strCache>
            </c:strRef>
          </c:cat>
          <c:val>
            <c:numRef>
              <c:f>[森世海亚需求数据.xlsx]Sheet2!$E$4:$E$6</c:f>
              <c:numCache>
                <c:formatCode>General</c:formatCode>
                <c:ptCount val="3"/>
                <c:pt idx="0">
                  <c:v>14</c:v>
                </c:pt>
                <c:pt idx="1">
                  <c:v>30</c:v>
                </c:pt>
                <c:pt idx="2">
                  <c:v>57</c:v>
                </c:pt>
              </c:numCache>
            </c:numRef>
          </c:val>
        </c:ser>
        <c:ser>
          <c:idx val="1"/>
          <c:order val="1"/>
          <c:tx>
            <c:strRef>
              <c:f>[森世海亚需求数据.xlsx]Sheet2!$F$3</c:f>
              <c:strCache>
                <c:ptCount val="1"/>
                <c:pt idx="0">
                  <c:v>占比</c:v>
                </c:pt>
              </c:strCache>
            </c:strRef>
          </c:tx>
          <c:spPr>
            <a:ln w="15875">
              <a:noFill/>
            </a:ln>
            <a:effectLst>
              <a:outerShdw blurRad="63500" sx="102000" sy="102000" algn="ctr" rotWithShape="0">
                <a:schemeClr val="tx1">
                  <a:lumMod val="50000"/>
                  <a:lumOff val="50000"/>
                  <a:alpha val="40000"/>
                </a:schemeClr>
              </a:outerShdw>
            </a:effectLst>
          </c:spPr>
          <c:explosion val="0"/>
          <c:dPt>
            <c:idx val="0"/>
            <c:bubble3D val="0"/>
            <c:explosion val="10"/>
            <c:spPr>
              <a:solidFill>
                <a:schemeClr val="accent1"/>
              </a:solidFill>
              <a:ln w="15875">
                <a:noFill/>
              </a:ln>
              <a:effectLst>
                <a:outerShdw blurRad="63500" sx="102000" sy="102000" algn="ctr" rotWithShape="0">
                  <a:schemeClr val="tx1">
                    <a:lumMod val="50000"/>
                    <a:lumOff val="50000"/>
                    <a:alpha val="40000"/>
                  </a:schemeClr>
                </a:outerShdw>
              </a:effectLst>
            </c:spPr>
          </c:dPt>
          <c:dPt>
            <c:idx val="1"/>
            <c:bubble3D val="0"/>
            <c:spPr>
              <a:solidFill>
                <a:schemeClr val="accent2"/>
              </a:solidFill>
              <a:ln w="15875">
                <a:noFill/>
              </a:ln>
              <a:effectLst>
                <a:outerShdw blurRad="63500" sx="102000" sy="102000" algn="ctr" rotWithShape="0">
                  <a:schemeClr val="tx1">
                    <a:lumMod val="50000"/>
                    <a:lumOff val="50000"/>
                    <a:alpha val="40000"/>
                  </a:schemeClr>
                </a:outerShdw>
              </a:effectLst>
            </c:spPr>
          </c:dPt>
          <c:dPt>
            <c:idx val="2"/>
            <c:bubble3D val="0"/>
            <c:spPr>
              <a:solidFill>
                <a:schemeClr val="accent3"/>
              </a:solidFill>
              <a:ln w="15875">
                <a:noFill/>
              </a:ln>
              <a:effectLst>
                <a:outerShdw blurRad="63500" sx="102000" sy="102000" algn="ctr" rotWithShape="0">
                  <a:schemeClr val="tx1">
                    <a:lumMod val="50000"/>
                    <a:lumOff val="50000"/>
                    <a:alpha val="40000"/>
                  </a:schemeClr>
                </a:outerShdw>
              </a:effectLst>
            </c:spPr>
          </c:dPt>
          <c:dLbls>
            <c:numFmt formatCode="General" sourceLinked="1"/>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森世海亚需求数据.xlsx]Sheet2!$D$4:$D$6</c:f>
              <c:strCache>
                <c:ptCount val="3"/>
                <c:pt idx="0">
                  <c:v>取消</c:v>
                </c:pt>
                <c:pt idx="1">
                  <c:v>未开始</c:v>
                </c:pt>
                <c:pt idx="2">
                  <c:v>已完成</c:v>
                </c:pt>
              </c:strCache>
            </c:strRef>
          </c:cat>
          <c:val>
            <c:numRef>
              <c:f>[森世海亚需求数据.xlsx]Sheet2!$F$4:$F$6</c:f>
              <c:numCache>
                <c:formatCode>0.00%</c:formatCode>
                <c:ptCount val="3"/>
                <c:pt idx="0">
                  <c:v>0.138613861386139</c:v>
                </c:pt>
                <c:pt idx="1">
                  <c:v>0.297029702970297</c:v>
                </c:pt>
                <c:pt idx="2">
                  <c:v>0.564356435643564</c:v>
                </c:pt>
              </c:numCache>
            </c:numRef>
          </c:val>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uri="{0b15fc19-7d7d-44ad-8c2d-2c3a37ce22c3}">
        <chartProps xmlns="https://web.wps.cn/et/2018/main" chartId="{20712615-4762-4bbf-a0b0-6f512cc9177a}"/>
      </c:ext>
    </c:extLst>
  </c:chart>
  <c:spPr>
    <a:noFill/>
    <a:ln w="6350" cap="flat" cmpd="sng" algn="ctr">
      <a:noFill/>
      <a:round/>
    </a:ln>
    <a:effectLst>
      <a:outerShdw blurRad="63500" dist="37357" dir="2700000" sx="0" sy="0" rotWithShape="0">
        <a:scrgbClr r="0" g="0" b="0"/>
      </a:outerShdw>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各位领导、同事们，大家好！我今天站在这里，作为系统运维汇报人，要为大家带来森</a:t>
            </a:r>
            <a:r>
              <a:rPr lang="en-US" altLang="zh-CN"/>
              <a:t>E</a:t>
            </a:r>
            <a:r>
              <a:rPr lang="zh-CN" altLang="en-US"/>
              <a:t>会</a:t>
            </a:r>
            <a:r>
              <a:rPr lang="en-US" altLang="zh-CN"/>
              <a:t>2025</a:t>
            </a:r>
            <a:r>
              <a:rPr lang="zh-CN" altLang="en-US"/>
              <a:t>年的系统运维情况。这一年里，系统运维工作对我们整个业务的稳定运行至关重要，它影响着自办会和三方活动的顺利开展、涉及日常各种运维问题的处理。了解这些情况，能让我们更好地规划后续工作。接下来，我将详细展示和分析这一年的系统运维成果，希望能为大家带来有价值的参考。</a:t>
            </a:r>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en-US" altLang="en-US">
                <a:sym typeface="+mn-ea"/>
              </a:rPr>
              <a:t>2025</a:t>
            </a:r>
            <a:r>
              <a:rPr lang="zh-CN" altLang="en-US">
                <a:sym typeface="+mn-ea"/>
              </a:rPr>
              <a:t>年自办会实际举办情况表现出色，共计举办会议</a:t>
            </a:r>
            <a:r>
              <a:rPr lang="en-US" altLang="zh-CN">
                <a:sym typeface="+mn-ea"/>
              </a:rPr>
              <a:t>7582</a:t>
            </a:r>
            <a:r>
              <a:rPr lang="zh-CN" altLang="en-US">
                <a:sym typeface="+mn-ea"/>
              </a:rPr>
              <a:t>场，这一数字不包含已取消会议。从会议数量来看，反映出我们在自办会组织方面的活跃程度和强大的运营能力。</a:t>
            </a:r>
            <a:r>
              <a:rPr lang="en-US" altLang="zh-CN">
                <a:sym typeface="+mn-ea"/>
              </a:rPr>
              <a:t>
</a:t>
            </a:r>
            <a:r>
              <a:rPr lang="zh-CN" altLang="en-US">
                <a:sym typeface="+mn-ea"/>
              </a:rPr>
              <a:t>再看会议状态，已顺利完结的会议，包括处于结算中和已完成的，占比在</a:t>
            </a:r>
            <a:r>
              <a:rPr lang="en-US" altLang="zh-CN">
                <a:sym typeface="+mn-ea"/>
              </a:rPr>
              <a:t>92%</a:t>
            </a:r>
            <a:r>
              <a:rPr lang="zh-CN" altLang="en-US">
                <a:sym typeface="+mn-ea"/>
              </a:rPr>
              <a:t>以上。如此高的占比，说明我们在会议筹备、组织和执行等各个环节都有着成熟的流程和高效的团队协作，能保证绝大多数会议圆满结束。</a:t>
            </a:r>
            <a:endParaRPr lang="zh-CN" altLang="en-US">
              <a:sym typeface="+mn-ea"/>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在</a:t>
            </a:r>
            <a:r>
              <a:rPr lang="en-US" altLang="zh-CN"/>
              <a:t>2025</a:t>
            </a:r>
            <a:r>
              <a:rPr lang="zh-CN" altLang="en-US"/>
              <a:t>年自办会举办情况里，小型会和线上会成为了主要的会议举办形式。这一现象的出现，有着多方面的原因。小型会灵活便捷，能够更高效地达成会议目的，避免了大型会议的繁琐流程。而线上会则突破了地域限制，节省了时间和成本，让更多人能够参与其中。这种形式的转变，也反映出当下会议举办的趋势，更加注重效率和灵活性。相信在未来，这两种会议形式会继续发挥重要作用。</a:t>
            </a:r>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en-US" altLang="en-US"/>
              <a:t>2025</a:t>
            </a:r>
            <a:r>
              <a:rPr lang="zh-CN" altLang="en-US"/>
              <a:t>年，我们举办的三方活动共计</a:t>
            </a:r>
            <a:r>
              <a:rPr lang="en-US" altLang="zh-CN"/>
              <a:t>908</a:t>
            </a:r>
            <a:r>
              <a:rPr lang="zh-CN" altLang="en-US"/>
              <a:t>个，这一数据不包含已取消的活动。从活动状态来看，顺利开展并完成的活动，包括处于结算中和已完成的，占比在</a:t>
            </a:r>
            <a:r>
              <a:rPr lang="en-US" altLang="zh-CN"/>
              <a:t>93%</a:t>
            </a:r>
            <a:r>
              <a:rPr lang="zh-CN" altLang="en-US"/>
              <a:t>以上。这一高占比反映出我们在三方活动举办方面有着出色的组织和执行能力。意味着我们在活动策划、资源调配、现场管理等环节都有着高效且稳定的表现，能够保障绝大多数活动达到预期效果，也为后续活动的开展积累了宝贵经验。</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在</a:t>
            </a:r>
            <a:r>
              <a:rPr lang="en-US" altLang="zh-CN"/>
              <a:t>2025</a:t>
            </a:r>
            <a:r>
              <a:rPr lang="zh-CN" altLang="en-US"/>
              <a:t>年三方活动举办里，举办类型的占比情况呈现出明显特点，</a:t>
            </a:r>
            <a:r>
              <a:rPr lang="en-US" altLang="zh-CN"/>
              <a:t>B</a:t>
            </a:r>
            <a:r>
              <a:rPr lang="zh-CN" altLang="en-US"/>
              <a:t>类单场赞助形式表现突出，占比约达</a:t>
            </a:r>
            <a:r>
              <a:rPr lang="en-US" altLang="zh-CN"/>
              <a:t>81%</a:t>
            </a:r>
            <a:r>
              <a:rPr lang="zh-CN" altLang="en-US"/>
              <a:t>，成为了三方活动主要的举办类型。这意味着大部分三方活动都偏好采用</a:t>
            </a:r>
            <a:r>
              <a:rPr lang="en-US" altLang="zh-CN"/>
              <a:t>B</a:t>
            </a:r>
            <a:r>
              <a:rPr lang="zh-CN" altLang="en-US"/>
              <a:t>类单场赞助的形式来开展。这种情况可能是因为</a:t>
            </a:r>
            <a:r>
              <a:rPr lang="en-US" altLang="zh-CN"/>
              <a:t>B</a:t>
            </a:r>
            <a:r>
              <a:rPr lang="zh-CN" altLang="en-US"/>
              <a:t>类单场赞助能为活动带来较为丰厚的资金支持，能够满足活动在举办过程中的各种需求。也有可能是其在资源整合、宣传推广等方面具有独特优势，因此才备受青睐。</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1.png"/><Relationship Id="rId2" Type="http://schemas.openxmlformats.org/officeDocument/2006/relationships/tags" Target="../tags/tag1.xml"/><Relationship Id="rId11" Type="http://schemas.openxmlformats.org/officeDocument/2006/relationships/tags" Target="../tags/tag9.xml"/><Relationship Id="rId10" Type="http://schemas.openxmlformats.org/officeDocument/2006/relationships/tags" Target="../tags/tag8.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7" Type="http://schemas.openxmlformats.org/officeDocument/2006/relationships/vmlDrawing" Target="../drawings/vmlDrawing65.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65.bin"/><Relationship Id="rId2" Type="http://schemas.openxmlformats.org/officeDocument/2006/relationships/tags" Target="../tags/tag410.xml"/><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7"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6.bin"/><Relationship Id="rId3" Type="http://schemas.openxmlformats.org/officeDocument/2006/relationships/tags" Target="../tags/tag411.xml"/><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8" Type="http://schemas.openxmlformats.org/officeDocument/2006/relationships/vmlDrawing" Target="../drawings/vmlDrawing67.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413.xml"/><Relationship Id="rId4" Type="http://schemas.openxmlformats.org/officeDocument/2006/relationships/image" Target="../media/image11.emf"/><Relationship Id="rId3" Type="http://schemas.openxmlformats.org/officeDocument/2006/relationships/oleObject" Target="../embeddings/oleObject67.bin"/><Relationship Id="rId2" Type="http://schemas.openxmlformats.org/officeDocument/2006/relationships/tags" Target="../tags/tag412.xml"/><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5" Type="http://schemas.openxmlformats.org/officeDocument/2006/relationships/vmlDrawing" Target="../drawings/vmlDrawing68.vml"/><Relationship Id="rId4" Type="http://schemas.openxmlformats.org/officeDocument/2006/relationships/image" Target="../media/image11.emf"/><Relationship Id="rId3" Type="http://schemas.openxmlformats.org/officeDocument/2006/relationships/oleObject" Target="../embeddings/oleObject68.bin"/><Relationship Id="rId2" Type="http://schemas.openxmlformats.org/officeDocument/2006/relationships/tags" Target="../tags/tag414.xml"/><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8" Type="http://schemas.openxmlformats.org/officeDocument/2006/relationships/vmlDrawing" Target="../drawings/vmlDrawing69.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416.xml"/><Relationship Id="rId4" Type="http://schemas.openxmlformats.org/officeDocument/2006/relationships/image" Target="../media/image11.emf"/><Relationship Id="rId3" Type="http://schemas.openxmlformats.org/officeDocument/2006/relationships/oleObject" Target="../embeddings/oleObject69.bin"/><Relationship Id="rId2" Type="http://schemas.openxmlformats.org/officeDocument/2006/relationships/tags" Target="../tags/tag415.xml"/><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8" Type="http://schemas.openxmlformats.org/officeDocument/2006/relationships/vmlDrawing" Target="../drawings/vmlDrawing70.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418.xml"/><Relationship Id="rId4" Type="http://schemas.openxmlformats.org/officeDocument/2006/relationships/image" Target="../media/image11.emf"/><Relationship Id="rId3" Type="http://schemas.openxmlformats.org/officeDocument/2006/relationships/oleObject" Target="../embeddings/oleObject70.bin"/><Relationship Id="rId2" Type="http://schemas.openxmlformats.org/officeDocument/2006/relationships/tags" Target="../tags/tag417.xml"/><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66.xml"/><Relationship Id="rId8" Type="http://schemas.openxmlformats.org/officeDocument/2006/relationships/tags" Target="../tags/tag65.xml"/><Relationship Id="rId7" Type="http://schemas.openxmlformats.org/officeDocument/2006/relationships/tags" Target="../tags/tag64.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image" Target="../media/image1.png"/><Relationship Id="rId2" Type="http://schemas.openxmlformats.org/officeDocument/2006/relationships/tags" Target="../tags/tag60.xml"/><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vmlDrawing" Target="../drawings/vmlDrawing71.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420.xml"/><Relationship Id="rId4" Type="http://schemas.openxmlformats.org/officeDocument/2006/relationships/image" Target="../media/image11.emf"/><Relationship Id="rId3" Type="http://schemas.openxmlformats.org/officeDocument/2006/relationships/oleObject" Target="../embeddings/oleObject71.bin"/><Relationship Id="rId2" Type="http://schemas.openxmlformats.org/officeDocument/2006/relationships/tags" Target="../tags/tag419.xml"/><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7" Type="http://schemas.openxmlformats.org/officeDocument/2006/relationships/vmlDrawing" Target="../drawings/vmlDrawing73.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73.bin"/><Relationship Id="rId2" Type="http://schemas.openxmlformats.org/officeDocument/2006/relationships/tags" Target="../tags/tag452.xml"/><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7"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4.bin"/><Relationship Id="rId3" Type="http://schemas.openxmlformats.org/officeDocument/2006/relationships/tags" Target="../tags/tag453.xml"/><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8" Type="http://schemas.openxmlformats.org/officeDocument/2006/relationships/vmlDrawing" Target="../drawings/vmlDrawing75.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455.xml"/><Relationship Id="rId4" Type="http://schemas.openxmlformats.org/officeDocument/2006/relationships/image" Target="../media/image11.emf"/><Relationship Id="rId3" Type="http://schemas.openxmlformats.org/officeDocument/2006/relationships/oleObject" Target="../embeddings/oleObject75.bin"/><Relationship Id="rId2" Type="http://schemas.openxmlformats.org/officeDocument/2006/relationships/tags" Target="../tags/tag454.xml"/><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5" Type="http://schemas.openxmlformats.org/officeDocument/2006/relationships/vmlDrawing" Target="../drawings/vmlDrawing76.vml"/><Relationship Id="rId4" Type="http://schemas.openxmlformats.org/officeDocument/2006/relationships/image" Target="../media/image11.emf"/><Relationship Id="rId3" Type="http://schemas.openxmlformats.org/officeDocument/2006/relationships/oleObject" Target="../embeddings/oleObject76.bin"/><Relationship Id="rId2" Type="http://schemas.openxmlformats.org/officeDocument/2006/relationships/tags" Target="../tags/tag456.xml"/><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8" Type="http://schemas.openxmlformats.org/officeDocument/2006/relationships/vmlDrawing" Target="../drawings/vmlDrawing77.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458.xml"/><Relationship Id="rId4" Type="http://schemas.openxmlformats.org/officeDocument/2006/relationships/image" Target="../media/image11.emf"/><Relationship Id="rId3" Type="http://schemas.openxmlformats.org/officeDocument/2006/relationships/oleObject" Target="../embeddings/oleObject77.bin"/><Relationship Id="rId2" Type="http://schemas.openxmlformats.org/officeDocument/2006/relationships/tags" Target="../tags/tag457.xml"/><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8" Type="http://schemas.openxmlformats.org/officeDocument/2006/relationships/vmlDrawing" Target="../drawings/vmlDrawing78.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460.xml"/><Relationship Id="rId4" Type="http://schemas.openxmlformats.org/officeDocument/2006/relationships/image" Target="../media/image11.emf"/><Relationship Id="rId3" Type="http://schemas.openxmlformats.org/officeDocument/2006/relationships/oleObject" Target="../embeddings/oleObject78.bin"/><Relationship Id="rId2" Type="http://schemas.openxmlformats.org/officeDocument/2006/relationships/tags" Target="../tags/tag459.xml"/><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7" Type="http://schemas.openxmlformats.org/officeDocument/2006/relationships/vmlDrawing" Target="../drawings/vmlDrawing80.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80.bin"/><Relationship Id="rId2" Type="http://schemas.openxmlformats.org/officeDocument/2006/relationships/tags" Target="../tags/tag492.xml"/><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7" Type="http://schemas.openxmlformats.org/officeDocument/2006/relationships/vmlDrawing" Target="../drawings/vmlDrawing81.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81.bin"/><Relationship Id="rId2" Type="http://schemas.openxmlformats.org/officeDocument/2006/relationships/tags" Target="../tags/tag493.xml"/><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vmlDrawing" Target="../drawings/vmlDrawing82.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495.xml"/><Relationship Id="rId4" Type="http://schemas.openxmlformats.org/officeDocument/2006/relationships/image" Target="../media/image11.emf"/><Relationship Id="rId3" Type="http://schemas.openxmlformats.org/officeDocument/2006/relationships/oleObject" Target="../embeddings/oleObject82.bin"/><Relationship Id="rId2" Type="http://schemas.openxmlformats.org/officeDocument/2006/relationships/tags" Target="../tags/tag494.xml"/><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7" Type="http://schemas.openxmlformats.org/officeDocument/2006/relationships/vmlDrawing" Target="../drawings/vmlDrawing8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83.bin"/><Relationship Id="rId3" Type="http://schemas.openxmlformats.org/officeDocument/2006/relationships/tags" Target="../tags/tag496.xml"/><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7" Type="http://schemas.openxmlformats.org/officeDocument/2006/relationships/vmlDrawing" Target="../drawings/vmlDrawing84.vml"/><Relationship Id="rId6" Type="http://schemas.openxmlformats.org/officeDocument/2006/relationships/image" Target="../media/image9.png"/><Relationship Id="rId5" Type="http://schemas.openxmlformats.org/officeDocument/2006/relationships/image" Target="../media/image10.jpeg"/><Relationship Id="rId4" Type="http://schemas.openxmlformats.org/officeDocument/2006/relationships/image" Target="../media/image7.emf"/><Relationship Id="rId3" Type="http://schemas.openxmlformats.org/officeDocument/2006/relationships/oleObject" Target="../embeddings/oleObject84.bin"/><Relationship Id="rId2" Type="http://schemas.openxmlformats.org/officeDocument/2006/relationships/tags" Target="../tags/tag497.xml"/><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7" Type="http://schemas.openxmlformats.org/officeDocument/2006/relationships/vmlDrawing" Target="../drawings/vmlDrawing85.vml"/><Relationship Id="rId6" Type="http://schemas.openxmlformats.org/officeDocument/2006/relationships/image" Target="../media/image9.png"/><Relationship Id="rId5" Type="http://schemas.openxmlformats.org/officeDocument/2006/relationships/image" Target="../media/image14.jpeg"/><Relationship Id="rId4" Type="http://schemas.openxmlformats.org/officeDocument/2006/relationships/image" Target="../media/image7.emf"/><Relationship Id="rId3" Type="http://schemas.openxmlformats.org/officeDocument/2006/relationships/oleObject" Target="../embeddings/oleObject85.bin"/><Relationship Id="rId2" Type="http://schemas.openxmlformats.org/officeDocument/2006/relationships/tags" Target="../tags/tag498.xml"/><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8" Type="http://schemas.openxmlformats.org/officeDocument/2006/relationships/vmlDrawing" Target="../drawings/vmlDrawing86.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00.xml"/><Relationship Id="rId4" Type="http://schemas.openxmlformats.org/officeDocument/2006/relationships/image" Target="../media/image11.emf"/><Relationship Id="rId3" Type="http://schemas.openxmlformats.org/officeDocument/2006/relationships/oleObject" Target="../embeddings/oleObject86.bin"/><Relationship Id="rId2" Type="http://schemas.openxmlformats.org/officeDocument/2006/relationships/tags" Target="../tags/tag499.xml"/><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8" Type="http://schemas.openxmlformats.org/officeDocument/2006/relationships/vmlDrawing" Target="../drawings/vmlDrawing87.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502.xml"/><Relationship Id="rId4" Type="http://schemas.openxmlformats.org/officeDocument/2006/relationships/image" Target="../media/image11.emf"/><Relationship Id="rId3" Type="http://schemas.openxmlformats.org/officeDocument/2006/relationships/oleObject" Target="../embeddings/oleObject87.bin"/><Relationship Id="rId2" Type="http://schemas.openxmlformats.org/officeDocument/2006/relationships/tags" Target="../tags/tag501.xml"/><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8" Type="http://schemas.openxmlformats.org/officeDocument/2006/relationships/vmlDrawing" Target="../drawings/vmlDrawing88.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04.xml"/><Relationship Id="rId4" Type="http://schemas.openxmlformats.org/officeDocument/2006/relationships/image" Target="../media/image11.emf"/><Relationship Id="rId3" Type="http://schemas.openxmlformats.org/officeDocument/2006/relationships/oleObject" Target="../embeddings/oleObject88.bin"/><Relationship Id="rId2" Type="http://schemas.openxmlformats.org/officeDocument/2006/relationships/tags" Target="../tags/tag503.xml"/><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6" Type="http://schemas.openxmlformats.org/officeDocument/2006/relationships/vmlDrawing" Target="../drawings/vmlDrawing89.vml"/><Relationship Id="rId5" Type="http://schemas.openxmlformats.org/officeDocument/2006/relationships/tags" Target="../tags/tag506.xml"/><Relationship Id="rId4" Type="http://schemas.openxmlformats.org/officeDocument/2006/relationships/image" Target="../media/image11.emf"/><Relationship Id="rId3" Type="http://schemas.openxmlformats.org/officeDocument/2006/relationships/oleObject" Target="../embeddings/oleObject89.bin"/><Relationship Id="rId2" Type="http://schemas.openxmlformats.org/officeDocument/2006/relationships/tags" Target="../tags/tag505.xml"/><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7" Type="http://schemas.openxmlformats.org/officeDocument/2006/relationships/vmlDrawing" Target="../drawings/vmlDrawing91.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91.bin"/><Relationship Id="rId2" Type="http://schemas.openxmlformats.org/officeDocument/2006/relationships/tags" Target="../tags/tag538.xml"/><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7" Type="http://schemas.openxmlformats.org/officeDocument/2006/relationships/vmlDrawing" Target="../drawings/vmlDrawing9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92.bin"/><Relationship Id="rId3" Type="http://schemas.openxmlformats.org/officeDocument/2006/relationships/tags" Target="../tags/tag539.xml"/><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8" Type="http://schemas.openxmlformats.org/officeDocument/2006/relationships/vmlDrawing" Target="../drawings/vmlDrawing93.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41.xml"/><Relationship Id="rId4" Type="http://schemas.openxmlformats.org/officeDocument/2006/relationships/image" Target="../media/image11.emf"/><Relationship Id="rId3" Type="http://schemas.openxmlformats.org/officeDocument/2006/relationships/oleObject" Target="../embeddings/oleObject93.bin"/><Relationship Id="rId2" Type="http://schemas.openxmlformats.org/officeDocument/2006/relationships/tags" Target="../tags/tag540.xml"/><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5" Type="http://schemas.openxmlformats.org/officeDocument/2006/relationships/vmlDrawing" Target="../drawings/vmlDrawing94.vml"/><Relationship Id="rId4" Type="http://schemas.openxmlformats.org/officeDocument/2006/relationships/image" Target="../media/image11.emf"/><Relationship Id="rId3" Type="http://schemas.openxmlformats.org/officeDocument/2006/relationships/oleObject" Target="../embeddings/oleObject94.bin"/><Relationship Id="rId2" Type="http://schemas.openxmlformats.org/officeDocument/2006/relationships/tags" Target="../tags/tag542.xml"/><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8" Type="http://schemas.openxmlformats.org/officeDocument/2006/relationships/vmlDrawing" Target="../drawings/vmlDrawing95.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544.xml"/><Relationship Id="rId4" Type="http://schemas.openxmlformats.org/officeDocument/2006/relationships/image" Target="../media/image11.emf"/><Relationship Id="rId3" Type="http://schemas.openxmlformats.org/officeDocument/2006/relationships/oleObject" Target="../embeddings/oleObject95.bin"/><Relationship Id="rId2" Type="http://schemas.openxmlformats.org/officeDocument/2006/relationships/tags" Target="../tags/tag543.xml"/><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8" Type="http://schemas.openxmlformats.org/officeDocument/2006/relationships/vmlDrawing" Target="../drawings/vmlDrawing96.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46.xml"/><Relationship Id="rId4" Type="http://schemas.openxmlformats.org/officeDocument/2006/relationships/image" Target="../media/image11.emf"/><Relationship Id="rId3" Type="http://schemas.openxmlformats.org/officeDocument/2006/relationships/oleObject" Target="../embeddings/oleObject96.bin"/><Relationship Id="rId2" Type="http://schemas.openxmlformats.org/officeDocument/2006/relationships/tags" Target="../tags/tag545.xml"/><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7" Type="http://schemas.openxmlformats.org/officeDocument/2006/relationships/vmlDrawing" Target="../drawings/vmlDrawing98.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98.bin"/><Relationship Id="rId2" Type="http://schemas.openxmlformats.org/officeDocument/2006/relationships/tags" Target="../tags/tag578.xml"/><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7" Type="http://schemas.openxmlformats.org/officeDocument/2006/relationships/vmlDrawing" Target="../drawings/vmlDrawing99.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99.bin"/><Relationship Id="rId3" Type="http://schemas.openxmlformats.org/officeDocument/2006/relationships/tags" Target="../tags/tag579.xml"/><Relationship Id="rId2" Type="http://schemas.openxmlformats.org/officeDocument/2006/relationships/image" Target="../media/image10.jpe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8" Type="http://schemas.openxmlformats.org/officeDocument/2006/relationships/vmlDrawing" Target="../drawings/vmlDrawing100.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81.xml"/><Relationship Id="rId4" Type="http://schemas.openxmlformats.org/officeDocument/2006/relationships/image" Target="../media/image11.emf"/><Relationship Id="rId3" Type="http://schemas.openxmlformats.org/officeDocument/2006/relationships/oleObject" Target="../embeddings/oleObject100.bin"/><Relationship Id="rId2" Type="http://schemas.openxmlformats.org/officeDocument/2006/relationships/tags" Target="../tags/tag580.xml"/><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5" Type="http://schemas.openxmlformats.org/officeDocument/2006/relationships/vmlDrawing" Target="../drawings/vmlDrawing101.vml"/><Relationship Id="rId4" Type="http://schemas.openxmlformats.org/officeDocument/2006/relationships/image" Target="../media/image11.emf"/><Relationship Id="rId3" Type="http://schemas.openxmlformats.org/officeDocument/2006/relationships/oleObject" Target="../embeddings/oleObject101.bin"/><Relationship Id="rId2" Type="http://schemas.openxmlformats.org/officeDocument/2006/relationships/tags" Target="../tags/tag582.xml"/><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vmlDrawing" Target="../drawings/vmlDrawing102.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584.xml"/><Relationship Id="rId4" Type="http://schemas.openxmlformats.org/officeDocument/2006/relationships/image" Target="../media/image11.emf"/><Relationship Id="rId3" Type="http://schemas.openxmlformats.org/officeDocument/2006/relationships/oleObject" Target="../embeddings/oleObject102.bin"/><Relationship Id="rId2" Type="http://schemas.openxmlformats.org/officeDocument/2006/relationships/tags" Target="../tags/tag583.xml"/><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8" Type="http://schemas.openxmlformats.org/officeDocument/2006/relationships/vmlDrawing" Target="../drawings/vmlDrawing103.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586.xml"/><Relationship Id="rId4" Type="http://schemas.openxmlformats.org/officeDocument/2006/relationships/image" Target="../media/image11.emf"/><Relationship Id="rId3" Type="http://schemas.openxmlformats.org/officeDocument/2006/relationships/oleObject" Target="../embeddings/oleObject103.bin"/><Relationship Id="rId2" Type="http://schemas.openxmlformats.org/officeDocument/2006/relationships/tags" Target="../tags/tag585.xml"/><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1.bin"/><Relationship Id="rId2" Type="http://schemas.openxmlformats.org/officeDocument/2006/relationships/tags" Target="../tags/tag75.xm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bin"/><Relationship Id="rId3" Type="http://schemas.openxmlformats.org/officeDocument/2006/relationships/tags" Target="../tags/tag76.xml"/><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78.xml"/><Relationship Id="rId4" Type="http://schemas.openxmlformats.org/officeDocument/2006/relationships/image" Target="../media/image11.emf"/><Relationship Id="rId3" Type="http://schemas.openxmlformats.org/officeDocument/2006/relationships/oleObject" Target="../embeddings/oleObject3.bin"/><Relationship Id="rId2" Type="http://schemas.openxmlformats.org/officeDocument/2006/relationships/tags" Target="../tags/tag77.xm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1.emf"/><Relationship Id="rId3" Type="http://schemas.openxmlformats.org/officeDocument/2006/relationships/oleObject" Target="../embeddings/oleObject4.bin"/><Relationship Id="rId2" Type="http://schemas.openxmlformats.org/officeDocument/2006/relationships/tags" Target="../tags/tag79.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vmlDrawing" Target="../drawings/vmlDrawing5.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81.xml"/><Relationship Id="rId4" Type="http://schemas.openxmlformats.org/officeDocument/2006/relationships/image" Target="../media/image11.emf"/><Relationship Id="rId3" Type="http://schemas.openxmlformats.org/officeDocument/2006/relationships/oleObject" Target="../embeddings/oleObject5.bin"/><Relationship Id="rId2" Type="http://schemas.openxmlformats.org/officeDocument/2006/relationships/tags" Target="../tags/tag80.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vmlDrawing" Target="../drawings/vmlDrawing6.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83.xml"/><Relationship Id="rId4" Type="http://schemas.openxmlformats.org/officeDocument/2006/relationships/image" Target="../media/image11.emf"/><Relationship Id="rId3" Type="http://schemas.openxmlformats.org/officeDocument/2006/relationships/oleObject" Target="../embeddings/oleObject6.bin"/><Relationship Id="rId2" Type="http://schemas.openxmlformats.org/officeDocument/2006/relationships/tags" Target="../tags/tag82.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7"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8.bin"/><Relationship Id="rId2" Type="http://schemas.openxmlformats.org/officeDocument/2006/relationships/tags" Target="../tags/tag115.xm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7"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9.bin"/><Relationship Id="rId3" Type="http://schemas.openxmlformats.org/officeDocument/2006/relationships/tags" Target="../tags/tag116.xml"/><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vmlDrawing" Target="../drawings/vmlDrawing10.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118.xml"/><Relationship Id="rId4" Type="http://schemas.openxmlformats.org/officeDocument/2006/relationships/image" Target="../media/image11.emf"/><Relationship Id="rId3" Type="http://schemas.openxmlformats.org/officeDocument/2006/relationships/oleObject" Target="../embeddings/oleObject10.bin"/><Relationship Id="rId2" Type="http://schemas.openxmlformats.org/officeDocument/2006/relationships/tags" Target="../tags/tag117.xm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11.emf"/><Relationship Id="rId3" Type="http://schemas.openxmlformats.org/officeDocument/2006/relationships/oleObject" Target="../embeddings/oleObject11.bin"/><Relationship Id="rId2" Type="http://schemas.openxmlformats.org/officeDocument/2006/relationships/tags" Target="../tags/tag119.xm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vmlDrawing" Target="../drawings/vmlDrawing12.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121.xml"/><Relationship Id="rId4" Type="http://schemas.openxmlformats.org/officeDocument/2006/relationships/image" Target="../media/image11.emf"/><Relationship Id="rId3" Type="http://schemas.openxmlformats.org/officeDocument/2006/relationships/oleObject" Target="../embeddings/oleObject12.bin"/><Relationship Id="rId2" Type="http://schemas.openxmlformats.org/officeDocument/2006/relationships/tags" Target="../tags/tag120.xm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vmlDrawing" Target="../drawings/vmlDrawing13.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123.xml"/><Relationship Id="rId4" Type="http://schemas.openxmlformats.org/officeDocument/2006/relationships/image" Target="../media/image11.emf"/><Relationship Id="rId3" Type="http://schemas.openxmlformats.org/officeDocument/2006/relationships/oleObject" Target="../embeddings/oleObject13.bin"/><Relationship Id="rId2" Type="http://schemas.openxmlformats.org/officeDocument/2006/relationships/tags" Target="../tags/tag122.xm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8" Type="http://schemas.openxmlformats.org/officeDocument/2006/relationships/vmlDrawing" Target="../drawings/vmlDrawing14.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125.xml"/><Relationship Id="rId4" Type="http://schemas.openxmlformats.org/officeDocument/2006/relationships/image" Target="../media/image11.emf"/><Relationship Id="rId3" Type="http://schemas.openxmlformats.org/officeDocument/2006/relationships/oleObject" Target="../embeddings/oleObject14.bin"/><Relationship Id="rId2" Type="http://schemas.openxmlformats.org/officeDocument/2006/relationships/tags" Target="../tags/tag124.xm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16.bin"/><Relationship Id="rId2" Type="http://schemas.openxmlformats.org/officeDocument/2006/relationships/tags" Target="../tags/tag157.xm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7" Type="http://schemas.openxmlformats.org/officeDocument/2006/relationships/vmlDrawing" Target="../drawings/vmlDrawing17.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7.bin"/><Relationship Id="rId3" Type="http://schemas.openxmlformats.org/officeDocument/2006/relationships/tags" Target="../tags/tag158.xml"/><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26.xml"/><Relationship Id="rId8" Type="http://schemas.openxmlformats.org/officeDocument/2006/relationships/tags" Target="../tags/tag25.xml"/><Relationship Id="rId7" Type="http://schemas.openxmlformats.org/officeDocument/2006/relationships/tags" Target="../tags/tag2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image" Target="../media/image1.png"/><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vmlDrawing" Target="../drawings/vmlDrawing18.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160.xml"/><Relationship Id="rId4" Type="http://schemas.openxmlformats.org/officeDocument/2006/relationships/image" Target="../media/image11.emf"/><Relationship Id="rId3" Type="http://schemas.openxmlformats.org/officeDocument/2006/relationships/oleObject" Target="../embeddings/oleObject18.bin"/><Relationship Id="rId2" Type="http://schemas.openxmlformats.org/officeDocument/2006/relationships/tags" Target="../tags/tag159.xml"/><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1.emf"/><Relationship Id="rId3" Type="http://schemas.openxmlformats.org/officeDocument/2006/relationships/oleObject" Target="../embeddings/oleObject19.bin"/><Relationship Id="rId2" Type="http://schemas.openxmlformats.org/officeDocument/2006/relationships/tags" Target="../tags/tag161.xm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8" Type="http://schemas.openxmlformats.org/officeDocument/2006/relationships/vmlDrawing" Target="../drawings/vmlDrawing20.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163.xml"/><Relationship Id="rId4" Type="http://schemas.openxmlformats.org/officeDocument/2006/relationships/image" Target="../media/image11.emf"/><Relationship Id="rId3" Type="http://schemas.openxmlformats.org/officeDocument/2006/relationships/oleObject" Target="../embeddings/oleObject20.bin"/><Relationship Id="rId2" Type="http://schemas.openxmlformats.org/officeDocument/2006/relationships/tags" Target="../tags/tag162.xm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vmlDrawing" Target="../drawings/vmlDrawing21.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165.xml"/><Relationship Id="rId4" Type="http://schemas.openxmlformats.org/officeDocument/2006/relationships/image" Target="../media/image11.emf"/><Relationship Id="rId3" Type="http://schemas.openxmlformats.org/officeDocument/2006/relationships/oleObject" Target="../embeddings/oleObject21.bin"/><Relationship Id="rId2" Type="http://schemas.openxmlformats.org/officeDocument/2006/relationships/tags" Target="../tags/tag164.xm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8" Type="http://schemas.openxmlformats.org/officeDocument/2006/relationships/vmlDrawing" Target="../drawings/vmlDrawing22.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167.xml"/><Relationship Id="rId4" Type="http://schemas.openxmlformats.org/officeDocument/2006/relationships/image" Target="../media/image11.emf"/><Relationship Id="rId3" Type="http://schemas.openxmlformats.org/officeDocument/2006/relationships/oleObject" Target="../embeddings/oleObject22.bin"/><Relationship Id="rId2" Type="http://schemas.openxmlformats.org/officeDocument/2006/relationships/tags" Target="../tags/tag166.xm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7" Type="http://schemas.openxmlformats.org/officeDocument/2006/relationships/tags" Target="../tags/tag32.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7"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24.bin"/><Relationship Id="rId2" Type="http://schemas.openxmlformats.org/officeDocument/2006/relationships/tags" Target="../tags/tag199.xml"/><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7"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 Id="rId3" Type="http://schemas.openxmlformats.org/officeDocument/2006/relationships/tags" Target="../tags/tag200.xml"/><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8" Type="http://schemas.openxmlformats.org/officeDocument/2006/relationships/vmlDrawing" Target="../drawings/vmlDrawing26.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02.xml"/><Relationship Id="rId4" Type="http://schemas.openxmlformats.org/officeDocument/2006/relationships/image" Target="../media/image11.emf"/><Relationship Id="rId3" Type="http://schemas.openxmlformats.org/officeDocument/2006/relationships/oleObject" Target="../embeddings/oleObject26.bin"/><Relationship Id="rId2" Type="http://schemas.openxmlformats.org/officeDocument/2006/relationships/tags" Target="../tags/tag201.xm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5" Type="http://schemas.openxmlformats.org/officeDocument/2006/relationships/vmlDrawing" Target="../drawings/vmlDrawing27.vml"/><Relationship Id="rId4" Type="http://schemas.openxmlformats.org/officeDocument/2006/relationships/image" Target="../media/image11.emf"/><Relationship Id="rId3" Type="http://schemas.openxmlformats.org/officeDocument/2006/relationships/oleObject" Target="../embeddings/oleObject27.bin"/><Relationship Id="rId2" Type="http://schemas.openxmlformats.org/officeDocument/2006/relationships/tags" Target="../tags/tag203.xm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8" Type="http://schemas.openxmlformats.org/officeDocument/2006/relationships/vmlDrawing" Target="../drawings/vmlDrawing28.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205.xml"/><Relationship Id="rId4" Type="http://schemas.openxmlformats.org/officeDocument/2006/relationships/image" Target="../media/image11.emf"/><Relationship Id="rId3" Type="http://schemas.openxmlformats.org/officeDocument/2006/relationships/oleObject" Target="../embeddings/oleObject28.bin"/><Relationship Id="rId2" Type="http://schemas.openxmlformats.org/officeDocument/2006/relationships/tags" Target="../tags/tag204.xm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8" Type="http://schemas.openxmlformats.org/officeDocument/2006/relationships/vmlDrawing" Target="../drawings/vmlDrawing29.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07.xml"/><Relationship Id="rId4" Type="http://schemas.openxmlformats.org/officeDocument/2006/relationships/image" Target="../media/image11.emf"/><Relationship Id="rId3" Type="http://schemas.openxmlformats.org/officeDocument/2006/relationships/oleObject" Target="../embeddings/oleObject29.bin"/><Relationship Id="rId2" Type="http://schemas.openxmlformats.org/officeDocument/2006/relationships/tags" Target="../tags/tag206.xml"/><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8" Type="http://schemas.openxmlformats.org/officeDocument/2006/relationships/vmlDrawing" Target="../drawings/vmlDrawing30.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209.xml"/><Relationship Id="rId4" Type="http://schemas.openxmlformats.org/officeDocument/2006/relationships/image" Target="../media/image11.emf"/><Relationship Id="rId3" Type="http://schemas.openxmlformats.org/officeDocument/2006/relationships/oleObject" Target="../embeddings/oleObject30.bin"/><Relationship Id="rId2" Type="http://schemas.openxmlformats.org/officeDocument/2006/relationships/tags" Target="../tags/tag208.xml"/><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9" Type="http://schemas.openxmlformats.org/officeDocument/2006/relationships/tags" Target="../tags/tag40.xml"/><Relationship Id="rId8" Type="http://schemas.openxmlformats.org/officeDocument/2006/relationships/tags" Target="../tags/tag39.xml"/><Relationship Id="rId7" Type="http://schemas.openxmlformats.org/officeDocument/2006/relationships/tags" Target="../tags/tag38.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7" Type="http://schemas.openxmlformats.org/officeDocument/2006/relationships/vmlDrawing" Target="../drawings/vmlDrawing32.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32.bin"/><Relationship Id="rId2" Type="http://schemas.openxmlformats.org/officeDocument/2006/relationships/tags" Target="../tags/tag241.xml"/><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7" Type="http://schemas.openxmlformats.org/officeDocument/2006/relationships/vmlDrawing" Target="../drawings/vmlDrawing3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3.bin"/><Relationship Id="rId3" Type="http://schemas.openxmlformats.org/officeDocument/2006/relationships/tags" Target="../tags/tag242.xml"/><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8" Type="http://schemas.openxmlformats.org/officeDocument/2006/relationships/vmlDrawing" Target="../drawings/vmlDrawing34.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44.xml"/><Relationship Id="rId4" Type="http://schemas.openxmlformats.org/officeDocument/2006/relationships/image" Target="../media/image11.emf"/><Relationship Id="rId3" Type="http://schemas.openxmlformats.org/officeDocument/2006/relationships/oleObject" Target="../embeddings/oleObject34.bin"/><Relationship Id="rId2" Type="http://schemas.openxmlformats.org/officeDocument/2006/relationships/tags" Target="../tags/tag243.xml"/><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35.vml"/><Relationship Id="rId4" Type="http://schemas.openxmlformats.org/officeDocument/2006/relationships/image" Target="../media/image11.emf"/><Relationship Id="rId3" Type="http://schemas.openxmlformats.org/officeDocument/2006/relationships/oleObject" Target="../embeddings/oleObject35.bin"/><Relationship Id="rId2" Type="http://schemas.openxmlformats.org/officeDocument/2006/relationships/tags" Target="../tags/tag245.xml"/><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8" Type="http://schemas.openxmlformats.org/officeDocument/2006/relationships/vmlDrawing" Target="../drawings/vmlDrawing36.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247.xml"/><Relationship Id="rId4" Type="http://schemas.openxmlformats.org/officeDocument/2006/relationships/image" Target="../media/image11.emf"/><Relationship Id="rId3" Type="http://schemas.openxmlformats.org/officeDocument/2006/relationships/oleObject" Target="../embeddings/oleObject36.bin"/><Relationship Id="rId2" Type="http://schemas.openxmlformats.org/officeDocument/2006/relationships/tags" Target="../tags/tag246.xml"/><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8" Type="http://schemas.openxmlformats.org/officeDocument/2006/relationships/vmlDrawing" Target="../drawings/vmlDrawing37.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49.xml"/><Relationship Id="rId4" Type="http://schemas.openxmlformats.org/officeDocument/2006/relationships/image" Target="../media/image11.emf"/><Relationship Id="rId3" Type="http://schemas.openxmlformats.org/officeDocument/2006/relationships/oleObject" Target="../embeddings/oleObject37.bin"/><Relationship Id="rId2" Type="http://schemas.openxmlformats.org/officeDocument/2006/relationships/tags" Target="../tags/tag248.xml"/><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8" Type="http://schemas.openxmlformats.org/officeDocument/2006/relationships/vmlDrawing" Target="../drawings/vmlDrawing38.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251.xml"/><Relationship Id="rId4" Type="http://schemas.openxmlformats.org/officeDocument/2006/relationships/image" Target="../media/image11.emf"/><Relationship Id="rId3" Type="http://schemas.openxmlformats.org/officeDocument/2006/relationships/oleObject" Target="../embeddings/oleObject38.bin"/><Relationship Id="rId2" Type="http://schemas.openxmlformats.org/officeDocument/2006/relationships/tags" Target="../tags/tag250.xml"/><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5" Type="http://schemas.openxmlformats.org/officeDocument/2006/relationships/vmlDrawing" Target="../drawings/vmlDrawing39.vml"/><Relationship Id="rId4" Type="http://schemas.openxmlformats.org/officeDocument/2006/relationships/image" Target="../media/image11.emf"/><Relationship Id="rId3" Type="http://schemas.openxmlformats.org/officeDocument/2006/relationships/oleObject" Target="../embeddings/oleObject39.bin"/><Relationship Id="rId2" Type="http://schemas.openxmlformats.org/officeDocument/2006/relationships/tags" Target="../tags/tag252.xml"/><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7" Type="http://schemas.openxmlformats.org/officeDocument/2006/relationships/vmlDrawing" Target="../drawings/vmlDrawing41.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41.bin"/><Relationship Id="rId2" Type="http://schemas.openxmlformats.org/officeDocument/2006/relationships/tags" Target="../tags/tag284.xml"/><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7"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 Id="rId3" Type="http://schemas.openxmlformats.org/officeDocument/2006/relationships/tags" Target="../tags/tag285.xml"/><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8" Type="http://schemas.openxmlformats.org/officeDocument/2006/relationships/vmlDrawing" Target="../drawings/vmlDrawing43.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87.xml"/><Relationship Id="rId4" Type="http://schemas.openxmlformats.org/officeDocument/2006/relationships/image" Target="../media/image11.emf"/><Relationship Id="rId3" Type="http://schemas.openxmlformats.org/officeDocument/2006/relationships/oleObject" Target="../embeddings/oleObject43.bin"/><Relationship Id="rId2" Type="http://schemas.openxmlformats.org/officeDocument/2006/relationships/tags" Target="../tags/tag286.xml"/><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5" Type="http://schemas.openxmlformats.org/officeDocument/2006/relationships/vmlDrawing" Target="../drawings/vmlDrawing44.vml"/><Relationship Id="rId4" Type="http://schemas.openxmlformats.org/officeDocument/2006/relationships/image" Target="../media/image11.emf"/><Relationship Id="rId3" Type="http://schemas.openxmlformats.org/officeDocument/2006/relationships/oleObject" Target="../embeddings/oleObject44.bin"/><Relationship Id="rId2" Type="http://schemas.openxmlformats.org/officeDocument/2006/relationships/tags" Target="../tags/tag288.xml"/><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8" Type="http://schemas.openxmlformats.org/officeDocument/2006/relationships/vmlDrawing" Target="../drawings/vmlDrawing45.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290.xml"/><Relationship Id="rId4" Type="http://schemas.openxmlformats.org/officeDocument/2006/relationships/image" Target="../media/image11.emf"/><Relationship Id="rId3" Type="http://schemas.openxmlformats.org/officeDocument/2006/relationships/oleObject" Target="../embeddings/oleObject45.bin"/><Relationship Id="rId2" Type="http://schemas.openxmlformats.org/officeDocument/2006/relationships/tags" Target="../tags/tag289.xml"/><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8" Type="http://schemas.openxmlformats.org/officeDocument/2006/relationships/vmlDrawing" Target="../drawings/vmlDrawing46.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292.xml"/><Relationship Id="rId4" Type="http://schemas.openxmlformats.org/officeDocument/2006/relationships/image" Target="../media/image11.emf"/><Relationship Id="rId3" Type="http://schemas.openxmlformats.org/officeDocument/2006/relationships/oleObject" Target="../embeddings/oleObject46.bin"/><Relationship Id="rId2" Type="http://schemas.openxmlformats.org/officeDocument/2006/relationships/tags" Target="../tags/tag291.xml"/><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8" Type="http://schemas.openxmlformats.org/officeDocument/2006/relationships/vmlDrawing" Target="../drawings/vmlDrawing47.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294.xml"/><Relationship Id="rId4" Type="http://schemas.openxmlformats.org/officeDocument/2006/relationships/image" Target="../media/image11.emf"/><Relationship Id="rId3" Type="http://schemas.openxmlformats.org/officeDocument/2006/relationships/oleObject" Target="../embeddings/oleObject47.bin"/><Relationship Id="rId2" Type="http://schemas.openxmlformats.org/officeDocument/2006/relationships/tags" Target="../tags/tag293.xml"/><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5" Type="http://schemas.openxmlformats.org/officeDocument/2006/relationships/tags" Target="../tags/tag48.xml"/><Relationship Id="rId4" Type="http://schemas.openxmlformats.org/officeDocument/2006/relationships/tags" Target="../tags/tag47.xml"/><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7" Type="http://schemas.openxmlformats.org/officeDocument/2006/relationships/vmlDrawing" Target="../drawings/vmlDrawing49.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49.bin"/><Relationship Id="rId2" Type="http://schemas.openxmlformats.org/officeDocument/2006/relationships/tags" Target="../tags/tag326.xml"/><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7" Type="http://schemas.openxmlformats.org/officeDocument/2006/relationships/vmlDrawing" Target="../drawings/vmlDrawing50.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0.bin"/><Relationship Id="rId3" Type="http://schemas.openxmlformats.org/officeDocument/2006/relationships/tags" Target="../tags/tag327.xml"/><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8" Type="http://schemas.openxmlformats.org/officeDocument/2006/relationships/vmlDrawing" Target="../drawings/vmlDrawing51.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329.xml"/><Relationship Id="rId4" Type="http://schemas.openxmlformats.org/officeDocument/2006/relationships/image" Target="../media/image11.emf"/><Relationship Id="rId3" Type="http://schemas.openxmlformats.org/officeDocument/2006/relationships/oleObject" Target="../embeddings/oleObject51.bin"/><Relationship Id="rId2" Type="http://schemas.openxmlformats.org/officeDocument/2006/relationships/tags" Target="../tags/tag328.xml"/><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5" Type="http://schemas.openxmlformats.org/officeDocument/2006/relationships/vmlDrawing" Target="../drawings/vmlDrawing52.vml"/><Relationship Id="rId4" Type="http://schemas.openxmlformats.org/officeDocument/2006/relationships/image" Target="../media/image11.emf"/><Relationship Id="rId3" Type="http://schemas.openxmlformats.org/officeDocument/2006/relationships/oleObject" Target="../embeddings/oleObject52.bin"/><Relationship Id="rId2" Type="http://schemas.openxmlformats.org/officeDocument/2006/relationships/tags" Target="../tags/tag330.xml"/><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8" Type="http://schemas.openxmlformats.org/officeDocument/2006/relationships/vmlDrawing" Target="../drawings/vmlDrawing53.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332.xml"/><Relationship Id="rId4" Type="http://schemas.openxmlformats.org/officeDocument/2006/relationships/image" Target="../media/image11.emf"/><Relationship Id="rId3" Type="http://schemas.openxmlformats.org/officeDocument/2006/relationships/oleObject" Target="../embeddings/oleObject53.bin"/><Relationship Id="rId2" Type="http://schemas.openxmlformats.org/officeDocument/2006/relationships/tags" Target="../tags/tag331.xml"/><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7" Type="http://schemas.openxmlformats.org/officeDocument/2006/relationships/tags" Target="../tags/tag54.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vmlDrawing" Target="../drawings/vmlDrawing54.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334.xml"/><Relationship Id="rId4" Type="http://schemas.openxmlformats.org/officeDocument/2006/relationships/image" Target="../media/image11.emf"/><Relationship Id="rId3" Type="http://schemas.openxmlformats.org/officeDocument/2006/relationships/oleObject" Target="../embeddings/oleObject54.bin"/><Relationship Id="rId2" Type="http://schemas.openxmlformats.org/officeDocument/2006/relationships/tags" Target="../tags/tag333.xml"/><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8" Type="http://schemas.openxmlformats.org/officeDocument/2006/relationships/vmlDrawing" Target="../drawings/vmlDrawing55.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336.xml"/><Relationship Id="rId4" Type="http://schemas.openxmlformats.org/officeDocument/2006/relationships/image" Target="../media/image11.emf"/><Relationship Id="rId3" Type="http://schemas.openxmlformats.org/officeDocument/2006/relationships/oleObject" Target="../embeddings/oleObject55.bin"/><Relationship Id="rId2" Type="http://schemas.openxmlformats.org/officeDocument/2006/relationships/tags" Target="../tags/tag335.xml"/><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7" Type="http://schemas.openxmlformats.org/officeDocument/2006/relationships/vmlDrawing" Target="../drawings/vmlDrawing57.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 Id="rId3" Type="http://schemas.openxmlformats.org/officeDocument/2006/relationships/oleObject" Target="../embeddings/oleObject57.bin"/><Relationship Id="rId2" Type="http://schemas.openxmlformats.org/officeDocument/2006/relationships/tags" Target="../tags/tag368.xml"/><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7" Type="http://schemas.openxmlformats.org/officeDocument/2006/relationships/vmlDrawing" Target="../drawings/vmlDrawing58.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8.bin"/><Relationship Id="rId3" Type="http://schemas.openxmlformats.org/officeDocument/2006/relationships/tags" Target="../tags/tag369.xml"/><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8" Type="http://schemas.openxmlformats.org/officeDocument/2006/relationships/vmlDrawing" Target="../drawings/vmlDrawing59.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371.xml"/><Relationship Id="rId4" Type="http://schemas.openxmlformats.org/officeDocument/2006/relationships/image" Target="../media/image11.emf"/><Relationship Id="rId3" Type="http://schemas.openxmlformats.org/officeDocument/2006/relationships/oleObject" Target="../embeddings/oleObject59.bin"/><Relationship Id="rId2" Type="http://schemas.openxmlformats.org/officeDocument/2006/relationships/tags" Target="../tags/tag370.xml"/><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5" Type="http://schemas.openxmlformats.org/officeDocument/2006/relationships/vmlDrawing" Target="../drawings/vmlDrawing60.vml"/><Relationship Id="rId4" Type="http://schemas.openxmlformats.org/officeDocument/2006/relationships/image" Target="../media/image11.emf"/><Relationship Id="rId3" Type="http://schemas.openxmlformats.org/officeDocument/2006/relationships/oleObject" Target="../embeddings/oleObject60.bin"/><Relationship Id="rId2" Type="http://schemas.openxmlformats.org/officeDocument/2006/relationships/tags" Target="../tags/tag372.xml"/><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8" Type="http://schemas.openxmlformats.org/officeDocument/2006/relationships/vmlDrawing" Target="../drawings/vmlDrawing61.vml"/><Relationship Id="rId7" Type="http://schemas.openxmlformats.org/officeDocument/2006/relationships/image" Target="../media/image9.png"/><Relationship Id="rId6" Type="http://schemas.openxmlformats.org/officeDocument/2006/relationships/image" Target="../media/image14.jpeg"/><Relationship Id="rId5" Type="http://schemas.openxmlformats.org/officeDocument/2006/relationships/tags" Target="../tags/tag374.xml"/><Relationship Id="rId4" Type="http://schemas.openxmlformats.org/officeDocument/2006/relationships/image" Target="../media/image11.emf"/><Relationship Id="rId3" Type="http://schemas.openxmlformats.org/officeDocument/2006/relationships/oleObject" Target="../embeddings/oleObject61.bin"/><Relationship Id="rId2" Type="http://schemas.openxmlformats.org/officeDocument/2006/relationships/tags" Target="../tags/tag373.xml"/><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8" Type="http://schemas.openxmlformats.org/officeDocument/2006/relationships/vmlDrawing" Target="../drawings/vmlDrawing62.vml"/><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tags" Target="../tags/tag376.xml"/><Relationship Id="rId4" Type="http://schemas.openxmlformats.org/officeDocument/2006/relationships/image" Target="../media/image11.emf"/><Relationship Id="rId3" Type="http://schemas.openxmlformats.org/officeDocument/2006/relationships/oleObject" Target="../embeddings/oleObject62.bin"/><Relationship Id="rId2" Type="http://schemas.openxmlformats.org/officeDocument/2006/relationships/tags" Target="../tags/tag375.xml"/><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8" Type="http://schemas.openxmlformats.org/officeDocument/2006/relationships/vmlDrawing" Target="../drawings/vmlDrawing63.vml"/><Relationship Id="rId7" Type="http://schemas.openxmlformats.org/officeDocument/2006/relationships/image" Target="../media/image13.png"/><Relationship Id="rId6" Type="http://schemas.openxmlformats.org/officeDocument/2006/relationships/image" Target="../media/image16.jpeg"/><Relationship Id="rId5" Type="http://schemas.openxmlformats.org/officeDocument/2006/relationships/tags" Target="../tags/tag378.xml"/><Relationship Id="rId4" Type="http://schemas.openxmlformats.org/officeDocument/2006/relationships/image" Target="../media/image11.emf"/><Relationship Id="rId3" Type="http://schemas.openxmlformats.org/officeDocument/2006/relationships/oleObject" Target="../embeddings/oleObject63.bin"/><Relationship Id="rId2" Type="http://schemas.openxmlformats.org/officeDocument/2006/relationships/tags" Target="../tags/tag377.xml"/><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pic>
        <p:nvPicPr>
          <p:cNvPr id="10" name="文本框 7" descr="门旁边的墙上&#10;&#10;描述已自动生成"/>
          <p:cNvPicPr>
            <a:picLocks noChangeAspect="1"/>
          </p:cNvPicPr>
          <p:nvPr>
            <p:custDataLst>
              <p:tags r:id="rId2"/>
            </p:custDataLst>
          </p:nvPr>
        </p:nvPicPr>
        <p:blipFill>
          <a:blip r:embed="rId3">
            <a:alphaModFix amt="15000"/>
            <a:duotone>
              <a:schemeClr val="accent2">
                <a:shade val="45000"/>
                <a:satMod val="135000"/>
              </a:schemeClr>
              <a:prstClr val="white"/>
            </a:duotone>
          </a:blip>
          <a:srcRect/>
          <a:stretch>
            <a:fillRect/>
          </a:stretch>
        </p:blipFill>
        <p:spPr>
          <a:xfrm flipH="1">
            <a:off x="1" y="0"/>
            <a:ext cx="12191998" cy="6858000"/>
          </a:xfrm>
          <a:prstGeom prst="rect">
            <a:avLst/>
          </a:prstGeom>
          <a:noFill/>
        </p:spPr>
      </p:pic>
      <p:sp>
        <p:nvSpPr>
          <p:cNvPr id="30" name="圆: 空心 29"/>
          <p:cNvSpPr/>
          <p:nvPr>
            <p:custDataLst>
              <p:tags r:id="rId4"/>
            </p:custDataLst>
          </p:nvPr>
        </p:nvSpPr>
        <p:spPr>
          <a:xfrm rot="5400000">
            <a:off x="7315787" y="1302555"/>
            <a:ext cx="2814149" cy="2821407"/>
          </a:xfrm>
          <a:prstGeom prst="donut">
            <a:avLst>
              <a:gd name="adj" fmla="val 22664"/>
            </a:avLst>
          </a:prstGeom>
          <a:gradFill flip="none" rotWithShape="1">
            <a:gsLst>
              <a:gs pos="32000">
                <a:srgbClr val="ECECF0">
                  <a:alpha val="0"/>
                </a:srgbClr>
              </a:gs>
              <a:gs pos="100000">
                <a:schemeClr val="accent1"/>
              </a:gs>
            </a:gsLst>
            <a:path path="circle">
              <a:fillToRect l="100000" t="100000"/>
            </a:path>
            <a:tileRect r="-100000" b="-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cs typeface="微软雅黑" panose="020B0503020204020204" charset="-122"/>
            </a:endParaRPr>
          </a:p>
        </p:txBody>
      </p:sp>
      <p:cxnSp>
        <p:nvCxnSpPr>
          <p:cNvPr id="32" name="直接连接符 31"/>
          <p:cNvCxnSpPr/>
          <p:nvPr>
            <p:custDataLst>
              <p:tags r:id="rId5"/>
            </p:custDataLst>
          </p:nvPr>
        </p:nvCxnSpPr>
        <p:spPr>
          <a:xfrm>
            <a:off x="2450124" y="3677527"/>
            <a:ext cx="457200" cy="0"/>
          </a:xfrm>
          <a:prstGeom prst="line">
            <a:avLst/>
          </a:prstGeom>
          <a:ln w="31750" cap="rnd">
            <a:solidFill>
              <a:schemeClr val="accent1">
                <a:lumMod val="60000"/>
                <a:lumOff val="40000"/>
              </a:schemeClr>
            </a:solidFill>
            <a:round/>
          </a:ln>
        </p:spPr>
        <p:style>
          <a:lnRef idx="1">
            <a:schemeClr val="accent1"/>
          </a:lnRef>
          <a:fillRef idx="0">
            <a:schemeClr val="accent1"/>
          </a:fillRef>
          <a:effectRef idx="0">
            <a:schemeClr val="accent1"/>
          </a:effectRef>
          <a:fontRef idx="minor">
            <a:schemeClr val="tx1"/>
          </a:fontRef>
        </p:style>
      </p:cxnSp>
      <p:sp>
        <p:nvSpPr>
          <p:cNvPr id="9" name="标题" descr="7b0a20202020227461726765744d6f64756c65223a202270726f636573734f6e6c696e65466f6e7473220a7d0a"/>
          <p:cNvSpPr txBox="1">
            <a:spLocks noGrp="1"/>
          </p:cNvSpPr>
          <p:nvPr>
            <p:ph type="title" idx="3" hasCustomPrompt="1"/>
            <p:custDataLst>
              <p:tags r:id="rId6"/>
            </p:custDataLst>
          </p:nvPr>
        </p:nvSpPr>
        <p:spPr>
          <a:xfrm>
            <a:off x="2348230" y="1402715"/>
            <a:ext cx="7165340" cy="2009140"/>
          </a:xfrm>
          <a:prstGeom prst="rect">
            <a:avLst/>
          </a:prstGeom>
          <a:noFill/>
        </p:spPr>
        <p:txBody>
          <a:bodyPr vert="horz" wrap="square" lIns="0" tIns="0" rIns="0" bIns="0" rtlCol="0" anchor="b" anchorCtr="0">
            <a:normAutofit/>
          </a:bodyPr>
          <a:lstStyle>
            <a:lvl1pPr marL="0" marR="0" lvl="0" algn="l" defTabSz="914400" rtl="0" eaLnBrk="1" fontAlgn="auto" latinLnBrk="0" hangingPunct="1">
              <a:lnSpc>
                <a:spcPct val="110000"/>
              </a:lnSpc>
              <a:buClrTx/>
              <a:buSzTx/>
              <a:buFontTx/>
              <a:buNone/>
              <a:defRPr kumimoji="0" lang="zh-CN" altLang="en-US" sz="6000" b="0" i="0" u="none" strike="noStrike" kern="1200" cap="none" spc="0" normalizeH="0" baseline="0" noProof="1" dirty="0">
                <a:solidFill>
                  <a:schemeClr val="tx1"/>
                </a:solidFill>
                <a:latin typeface="+mj-ea"/>
                <a:ea typeface="+mj-ea"/>
                <a:cs typeface="微软雅黑" panose="020B0503020204020204" charset="-122"/>
                <a:sym typeface="+mn-ea"/>
              </a:defRPr>
            </a:lvl1pPr>
          </a:lstStyle>
          <a:p>
            <a:pPr lvl="0" algn="l">
              <a:lnSpc>
                <a:spcPct val="110000"/>
              </a:lnSpc>
              <a:buClrTx/>
              <a:buSzTx/>
              <a:buFontTx/>
            </a:pPr>
            <a:r>
              <a:rPr dirty="0">
                <a:sym typeface="+mn-ea"/>
              </a:rPr>
              <a:t>单击此处编辑标题</a:t>
            </a:r>
            <a:endParaRPr dirty="0">
              <a:sym typeface="+mn-ea"/>
            </a:endParaRPr>
          </a:p>
        </p:txBody>
      </p:sp>
      <p:sp>
        <p:nvSpPr>
          <p:cNvPr id="8" name="副标题" descr="7b0a20202020227461726765744d6f64756c65223a202270726f636573734f6e6c696e65466f6e7473220a7d0a"/>
          <p:cNvSpPr txBox="1">
            <a:spLocks noGrp="1"/>
          </p:cNvSpPr>
          <p:nvPr>
            <p:ph type="body" idx="2" hasCustomPrompt="1"/>
            <p:custDataLst>
              <p:tags r:id="rId7"/>
            </p:custDataLst>
          </p:nvPr>
        </p:nvSpPr>
        <p:spPr>
          <a:xfrm>
            <a:off x="3114675" y="3495675"/>
            <a:ext cx="6398895" cy="774700"/>
          </a:xfrm>
          <a:prstGeom prst="rect">
            <a:avLst/>
          </a:prstGeom>
          <a:noFill/>
        </p:spPr>
        <p:txBody>
          <a:bodyPr vert="horz" wrap="square" lIns="91440" tIns="45720" rIns="91440" bIns="45720" rtlCol="0" anchor="t" anchorCtr="0">
            <a:normAutofit/>
          </a:bodyPr>
          <a:lstStyle>
            <a:lvl1pPr marL="0" marR="0" lvl="0" algn="l" defTabSz="914400" rtl="0" eaLnBrk="1" fontAlgn="auto" latinLnBrk="0" hangingPunct="1">
              <a:lnSpc>
                <a:spcPct val="110000"/>
              </a:lnSpc>
              <a:buClrTx/>
              <a:buSzTx/>
              <a:buFontTx/>
              <a:buNone/>
              <a:defRPr kumimoji="0" lang="en-US" altLang="zh-CN" sz="1600" b="0" i="0" u="none" strike="noStrike" kern="1200" cap="none" spc="500" normalizeH="0" baseline="0" noProof="1" dirty="0">
                <a:ln>
                  <a:noFill/>
                </a:ln>
                <a:solidFill>
                  <a:schemeClr val="accent1">
                    <a:lumMod val="60000"/>
                    <a:lumOff val="40000"/>
                  </a:schemeClr>
                </a:solidFill>
                <a:latin typeface="+mn-lt"/>
                <a:ea typeface="+mn-lt"/>
                <a:cs typeface="微软雅黑" panose="020B0503020204020204" charset="-122"/>
                <a:sym typeface="+mn-ea"/>
              </a:defRPr>
            </a:lvl1pPr>
          </a:lstStyle>
          <a:p>
            <a:pPr lvl="0">
              <a:lnSpc>
                <a:spcPct val="110000"/>
              </a:lnSpc>
              <a:buClrTx/>
              <a:buSzTx/>
              <a:buFontTx/>
            </a:pPr>
            <a:r>
              <a:rPr>
                <a:sym typeface="+mn-ea"/>
              </a:rPr>
              <a:t>单击此处编辑母版副标题样式</a:t>
            </a:r>
            <a:endParaRPr>
              <a:sym typeface="+mn-ea"/>
            </a:endParaRPr>
          </a:p>
        </p:txBody>
      </p:sp>
      <p:sp>
        <p:nvSpPr>
          <p:cNvPr id="4" name="日期占位符 3"/>
          <p:cNvSpPr>
            <a:spLocks noGrp="1"/>
          </p:cNvSpPr>
          <p:nvPr>
            <p:ph type="dt" sz="half" idx="10"/>
            <p:custDataLst>
              <p:tags r:id="rId8"/>
            </p:custDataLst>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custDataLst>
              <p:tags r:id="rId9"/>
            </p:custDataLst>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custDataLst>
              <p:tags r:id="rId10"/>
            </p:custDataLst>
          </p:nvPr>
        </p:nvSpPr>
        <p:spPr>
          <a:xfrm>
            <a:off x="8610600" y="6356350"/>
            <a:ext cx="2743200" cy="365125"/>
          </a:xfrm>
        </p:spPr>
        <p:txBody>
          <a:bodyPr/>
          <a:lstStyle/>
          <a:p>
            <a:fld id="{565CE74E-AB26-4998-AD42-012C4C1AD076}" type="slidenum">
              <a:rPr lang="zh-CN" altLang="en-US" smtClean="0"/>
            </a:fld>
            <a:endParaRPr lang="zh-CN" altLang="en-US"/>
          </a:p>
        </p:txBody>
      </p:sp>
      <p:sp>
        <p:nvSpPr>
          <p:cNvPr id="11" name="署名占位符 10"/>
          <p:cNvSpPr>
            <a:spLocks noGrp="1"/>
          </p:cNvSpPr>
          <p:nvPr>
            <p:ph type="body" sz="quarter" idx="17" hasCustomPrompt="1"/>
            <p:custDataLst>
              <p:tags r:id="rId11"/>
            </p:custDataLst>
          </p:nvPr>
        </p:nvSpPr>
        <p:spPr>
          <a:xfrm>
            <a:off x="2348229" y="4585652"/>
            <a:ext cx="2117725" cy="457835"/>
          </a:xfrm>
          <a:prstGeom prst="roundRect">
            <a:avLst>
              <a:gd name="adj" fmla="val 50000"/>
            </a:avLst>
          </a:prstGeom>
          <a:solidFill>
            <a:schemeClr val="accent1"/>
          </a:solidFill>
          <a:effectLst/>
        </p:spPr>
        <p:txBody>
          <a:bodyPr wrap="square" lIns="0" rIns="0" anchor="ctr">
            <a:noAutofit/>
          </a:bodyPr>
          <a:lstStyle>
            <a:lvl1pPr marL="0" indent="0" algn="ctr">
              <a:lnSpc>
                <a:spcPct val="100000"/>
              </a:lnSpc>
              <a:buNone/>
              <a:defRPr sz="1600">
                <a:solidFill>
                  <a:srgbClr val="FFFFFF"/>
                </a:solidFill>
                <a:latin typeface="+mj-ea"/>
                <a:ea typeface="+mj-ea"/>
              </a:defRPr>
            </a:lvl1pPr>
          </a:lstStyle>
          <a:p>
            <a:pPr lvl="0"/>
            <a:r>
              <a:rPr lang="zh-CN" altLang="en-US" dirty="0"/>
              <a:t>署名</a:t>
            </a:r>
            <a:endParaRPr lang="zh-CN" altLang="en-US" dirty="0"/>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标题和副标题">
    <p:spTree>
      <p:nvGrpSpPr>
        <p:cNvPr id="1" name=""/>
        <p:cNvGrpSpPr/>
        <p:nvPr/>
      </p:nvGrpSpPr>
      <p:grpSpPr>
        <a:xfrm>
          <a:off x="0" y="0"/>
          <a:ext cx="0" cy="0"/>
          <a:chOff x="0" y="0"/>
          <a:chExt cx="0" cy="0"/>
        </a:xfrm>
      </p:grpSpPr>
      <p:sp>
        <p:nvSpPr>
          <p:cNvPr id="7" name="副标题" descr="7b0a20202020227461726765744d6f64756c65223a202270726f636573734f6e6c696e65466f6e7473220a7d0a"/>
          <p:cNvSpPr txBox="1">
            <a:spLocks noGrp="1"/>
          </p:cNvSpPr>
          <p:nvPr>
            <p:ph type="body" idx="3" hasCustomPrompt="1"/>
            <p:custDataLst>
              <p:tags r:id="rId2"/>
            </p:custDataLst>
          </p:nvPr>
        </p:nvSpPr>
        <p:spPr>
          <a:xfrm>
            <a:off x="695960" y="1301750"/>
            <a:ext cx="10799088" cy="405553"/>
          </a:xfrm>
          <a:prstGeom prst="rect">
            <a:avLst/>
          </a:prstGeom>
          <a:noFill/>
          <a:ln>
            <a:noFill/>
            <a:prstDash val="sysDash"/>
          </a:ln>
        </p:spPr>
        <p:txBody>
          <a:bodyPr wrap="square" rtlCol="0">
            <a:noAutofit/>
          </a:bodyPr>
          <a:lstStyle>
            <a:lvl1pPr marL="0" marR="0" algn="l" defTabSz="914400" rtl="0" eaLnBrk="1" fontAlgn="auto" latinLnBrk="0" hangingPunct="1">
              <a:lnSpc>
                <a:spcPct val="100000"/>
              </a:lnSpc>
              <a:buClrTx/>
              <a:buSzTx/>
              <a:buFontTx/>
              <a:buNone/>
              <a:defRPr kumimoji="0" lang="zh-CN" altLang="en-US" sz="2000" b="0" i="0" u="none" strike="noStrike" kern="1200" cap="none" spc="300" normalizeH="0" baseline="0" noProof="1" dirty="0">
                <a:solidFill>
                  <a:schemeClr val="accent1"/>
                </a:solidFill>
                <a:latin typeface="+mj-ea"/>
                <a:ea typeface="+mj-ea"/>
                <a:cs typeface="微软雅黑" panose="020B0503020204020204" charset="-122"/>
              </a:defRPr>
            </a:lvl1pPr>
          </a:lstStyle>
          <a:p>
            <a:pPr lvl="0" algn="l"/>
            <a:r>
              <a:rPr dirty="0">
                <a:sym typeface="+mn-ea"/>
              </a:rPr>
              <a:t>单击此处编辑母版副标题样式</a:t>
            </a:r>
            <a:endParaRPr dirty="0">
              <a:sym typeface="+mn-ea"/>
            </a:endParaRPr>
          </a:p>
        </p:txBody>
      </p:sp>
      <p:sp>
        <p:nvSpPr>
          <p:cNvPr id="6" name="标题"/>
          <p:cNvSpPr txBox="1">
            <a:spLocks noGrp="1"/>
          </p:cNvSpPr>
          <p:nvPr>
            <p:ph type="title" idx="2"/>
            <p:custDataLst>
              <p:tags r:id="rId3"/>
            </p:custDataLst>
          </p:nvPr>
        </p:nvSpPr>
        <p:spPr>
          <a:xfrm>
            <a:off x="611400" y="608400"/>
            <a:ext cx="10969200" cy="705600"/>
          </a:xfrm>
          <a:prstGeom prst="rect">
            <a:avLst/>
          </a:prstGeom>
          <a:noFill/>
          <a:ln>
            <a:noFill/>
            <a:prstDash val="sysDash"/>
          </a:ln>
        </p:spPr>
        <p:txBody>
          <a:bodyPr vert="horz" wrap="square" lIns="91440" tIns="45720" rIns="91440" bIns="45720" rtlCol="0" anchor="ctr">
            <a:normAutofit/>
          </a:bodyPr>
          <a:lstStyle>
            <a:lvl1pPr>
              <a:defRPr b="0">
                <a:sym typeface="+mn-ea"/>
              </a:defRPr>
            </a:lvl1pPr>
          </a:lstStyle>
          <a:p>
            <a:pPr marL="0" marR="0" lvl="0" fontAlgn="auto">
              <a:lnSpc>
                <a:spcPct val="100000"/>
              </a:lnSpc>
              <a:buClrTx/>
              <a:buSzTx/>
              <a:buFontTx/>
            </a:pPr>
            <a:r>
              <a:rPr dirty="0">
                <a:sym typeface="+mn-ea"/>
              </a:rPr>
              <a:t>单击此处编辑母版标题样式</a:t>
            </a:r>
            <a:endParaRPr dirty="0">
              <a:sym typeface="+mn-ea"/>
            </a:endParaRPr>
          </a:p>
        </p:txBody>
      </p:sp>
      <p:sp>
        <p:nvSpPr>
          <p:cNvPr id="3" name="日期占位符 2"/>
          <p:cNvSpPr>
            <a:spLocks noGrp="1"/>
          </p:cNvSpPr>
          <p:nvPr>
            <p:ph type="dt" sz="half" idx="10"/>
            <p:custDataLst>
              <p:tags r:id="rId4"/>
            </p:custDataLst>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custDataLst>
              <p:tags r:id="rId5"/>
            </p:custDataLst>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custDataLst>
              <p:tags r:id="rId6"/>
            </p:custDataLst>
          </p:nvPr>
        </p:nvSpPr>
        <p:spPr>
          <a:xfrm>
            <a:off x="8610600" y="6356350"/>
            <a:ext cx="2743200" cy="365125"/>
          </a:xfrm>
        </p:spPr>
        <p:txBody>
          <a:bodyPr/>
          <a:lstStyle/>
          <a:p>
            <a:fld id="{565CE74E-AB26-4998-AD42-012C4C1AD076}" type="slidenum">
              <a:rPr lang="zh-CN" altLang="en-US" smtClean="0"/>
            </a:fld>
            <a:endParaRPr lang="zh-CN" altLang="en-US"/>
          </a:p>
        </p:txBody>
      </p:sp>
    </p:spTree>
  </p:cSld>
  <p:clrMapOvr>
    <a:masterClrMapping/>
  </p:clrMapOvr>
  <p:hf sldNum="0"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17913"/>
            <a:ext cx="11273282" cy="449263"/>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p:txBody>
      </p:sp>
      <p:sp>
        <p:nvSpPr>
          <p:cNvPr id="3" name="Holder 3"/>
          <p:cNvSpPr>
            <a:spLocks noGrp="1"/>
          </p:cNvSpPr>
          <p:nvPr>
            <p:ph type="subTitle" idx="4"/>
          </p:nvPr>
        </p:nvSpPr>
        <p:spPr>
          <a:xfrm>
            <a:off x="1828800" y="3840480"/>
            <a:ext cx="8534400" cy="223972"/>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fld id="{DABAFD19-882F-4CBA-BC8D-F41AB3D52FED}" type="datetime1">
              <a:rPr lang="en-US" smtClean="0"/>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lang="en-US" smtClean="0"/>
            </a:fld>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4833" y="1864514"/>
            <a:ext cx="4871677" cy="4035544"/>
          </a:xfrm>
        </p:spPr>
        <p:txBody>
          <a:bodyPr anchor="t">
            <a:normAutofit/>
          </a:bodyPr>
          <a:lstStyle>
            <a:lvl1pPr algn="l">
              <a:defRPr sz="4400" i="1">
                <a:solidFill>
                  <a:schemeClr val="bg1"/>
                </a:solidFill>
              </a:defRPr>
            </a:lvl1pPr>
          </a:lstStyle>
          <a:p>
            <a:r>
              <a:rPr lang="en-US"/>
              <a:t>Click to edit Master title style</a:t>
            </a:r>
            <a:endParaRPr lang="en-US"/>
          </a:p>
        </p:txBody>
      </p:sp>
      <p:sp>
        <p:nvSpPr>
          <p:cNvPr id="3" name="Subtitle 2"/>
          <p:cNvSpPr>
            <a:spLocks noGrp="1"/>
          </p:cNvSpPr>
          <p:nvPr>
            <p:ph type="subTitle" idx="1"/>
          </p:nvPr>
        </p:nvSpPr>
        <p:spPr>
          <a:xfrm>
            <a:off x="7086603" y="4517649"/>
            <a:ext cx="4849907" cy="403208"/>
          </a:xfrm>
        </p:spPr>
        <p:txBody>
          <a:bodyPr/>
          <a:lstStyle>
            <a:lvl1pPr marL="0" indent="0" algn="l">
              <a:buNone/>
              <a:defRPr sz="2400">
                <a:solidFill>
                  <a:schemeClr val="bg1"/>
                </a:solidFill>
              </a:defRPr>
            </a:lvl1pPr>
            <a:lvl2pPr marL="456565" indent="0" algn="ctr">
              <a:buNone/>
              <a:defRPr sz="2000"/>
            </a:lvl2pPr>
            <a:lvl3pPr marL="913765" indent="0" algn="ctr">
              <a:buNone/>
              <a:defRPr sz="1900"/>
            </a:lvl3pPr>
            <a:lvl4pPr marL="1370330" indent="0" algn="ctr">
              <a:buNone/>
              <a:defRPr sz="1600"/>
            </a:lvl4pPr>
            <a:lvl5pPr marL="1827530" indent="0" algn="ctr">
              <a:buNone/>
              <a:defRPr sz="1600"/>
            </a:lvl5pPr>
            <a:lvl6pPr marL="2284730" indent="0" algn="ctr">
              <a:buNone/>
              <a:defRPr sz="1600"/>
            </a:lvl6pPr>
            <a:lvl7pPr marL="2741930" indent="0" algn="ctr">
              <a:buNone/>
              <a:defRPr sz="1600"/>
            </a:lvl7pPr>
            <a:lvl8pPr marL="3198495" indent="0" algn="ctr">
              <a:buNone/>
              <a:defRPr sz="1600"/>
            </a:lvl8pPr>
            <a:lvl9pPr marL="3655695" indent="0" algn="ctr">
              <a:buNone/>
              <a:defRPr sz="1600"/>
            </a:lvl9pPr>
          </a:lstStyle>
          <a:p>
            <a:r>
              <a:rPr lang="en-US"/>
              <a:t>Click to edit Master subtitle style</a:t>
            </a:r>
            <a:endParaRPr lang="en-US"/>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ea typeface="微软雅黑" panose="020B0503020204020204" charset="-122"/>
                <a:cs typeface="微软雅黑" panose="020B0503020204020204" charset="-122"/>
              </a:defRPr>
            </a:lvl1pPr>
          </a:lstStyle>
          <a:p>
            <a:pPr defTabSz="914400">
              <a:defRPr/>
            </a:pPr>
            <a:fld id="{B3370CBD-1E39-4D02-8C1C-85921893685B}" type="datetime1">
              <a:rPr lang="en-US" smtClean="0">
                <a:solidFill>
                  <a:srgbClr val="000000"/>
                </a:solidFill>
              </a:rPr>
            </a:fld>
            <a:endParaRPr lang="en-US">
              <a:solidFill>
                <a:srgbClr val="000000"/>
              </a:solidFill>
            </a:endParaRPr>
          </a:p>
        </p:txBody>
      </p:sp>
      <p:sp>
        <p:nvSpPr>
          <p:cNvPr id="3" name="Footer Placeholder 2"/>
          <p:cNvSpPr>
            <a:spLocks noGrp="1"/>
          </p:cNvSpPr>
          <p:nvPr>
            <p:ph type="ftr" sz="quarter" idx="11"/>
          </p:nvPr>
        </p:nvSpPr>
        <p:spPr/>
        <p:txBody>
          <a:bodyPr/>
          <a:lstStyle>
            <a:lvl1pPr>
              <a:defRPr>
                <a:ea typeface="微软雅黑" panose="020B0503020204020204" charset="-122"/>
                <a:cs typeface="微软雅黑" panose="020B0503020204020204" charset="-122"/>
              </a:defRPr>
            </a:lvl1p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lvl1pPr>
              <a:defRPr>
                <a:ea typeface="微软雅黑" panose="020B0503020204020204" charset="-122"/>
                <a:cs typeface="微软雅黑" panose="020B0503020204020204" charset="-122"/>
              </a:defRPr>
            </a:lvl1pPr>
          </a:lstStyle>
          <a:p>
            <a:pPr defTabSz="914400">
              <a:defRPr/>
            </a:pPr>
            <a:fld id="{FF6319FF-1DE5-4A84-BE86-74DE60C0FF39}" type="slidenum">
              <a:rPr lang="en-US" smtClean="0">
                <a:solidFill>
                  <a:srgbClr val="000000"/>
                </a:solidFill>
              </a:rPr>
            </a:fld>
            <a:endParaRPr lang="en-US">
              <a:solidFill>
                <a:srgbClr val="000000"/>
              </a:solidFill>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7833" y="1608513"/>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5951833" y="1606463"/>
            <a:ext cx="5181600" cy="1258143"/>
          </a:xfrm>
        </p:spPr>
        <p:txBody>
          <a:bodyPr/>
          <a:lstStyle>
            <a:lvl1pPr marL="342900" indent="-342900">
              <a:buClr>
                <a:srgbClr val="C30F1E"/>
              </a:buClr>
              <a:buFont typeface="Arial" panose="020B0604020202020204" pitchFamily="34" charset="0"/>
              <a:buChar char="•"/>
              <a:defRPr sz="1600"/>
            </a:lvl1pPr>
            <a:lvl2pPr marL="800100" indent="-342900">
              <a:buClr>
                <a:srgbClr val="C30F1E"/>
              </a:buClr>
              <a:buFont typeface="Arial" panose="020B0604020202020204" pitchFamily="34" charset="0"/>
              <a:buChar char="•"/>
              <a:defRPr/>
            </a:lvl2pPr>
            <a:lvl3pPr marL="1200150" indent="-285750">
              <a:buClr>
                <a:srgbClr val="C30F1E"/>
              </a:buClr>
              <a:buFont typeface="Arial" panose="020B0604020202020204" pitchFamily="34" charset="0"/>
              <a:buChar char="•"/>
              <a:defRPr/>
            </a:lvl3pPr>
            <a:lvl4pPr marL="1657350" indent="-285750">
              <a:buClr>
                <a:srgbClr val="C30F1E"/>
              </a:buClr>
              <a:buFont typeface="Arial" panose="020B0604020202020204" pitchFamily="34" charset="0"/>
              <a:buChar char="•"/>
              <a:defRPr/>
            </a:lvl4pPr>
            <a:lvl5pPr marL="2114550" indent="-285750">
              <a:buClr>
                <a:srgbClr val="C30F1E"/>
              </a:buClr>
              <a:buFont typeface="Arial" panose="020B0604020202020204" pitchFamily="34" charset="0"/>
              <a:buChar cha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9" name="Slide Number Placeholder 5"/>
          <p:cNvSpPr>
            <a:spLocks noGrp="1"/>
          </p:cNvSpPr>
          <p:nvPr>
            <p:ph type="sldNum" sz="quarter" idx="12"/>
          </p:nvPr>
        </p:nvSpPr>
        <p:spPr>
          <a:xfrm>
            <a:off x="11333313" y="6356354"/>
            <a:ext cx="457987" cy="230843"/>
          </a:xfrm>
        </p:spPr>
        <p:txBody>
          <a:bodyPr/>
          <a:lstStyle>
            <a:lvl1pPr>
              <a:defRPr>
                <a:ea typeface="微软雅黑" panose="020B0503020204020204" charset="-122"/>
                <a:cs typeface="微软雅黑" panose="020B0503020204020204" charset="-122"/>
              </a:defRPr>
            </a:lvl1pPr>
          </a:lstStyle>
          <a:p>
            <a:fld id="{5F68880D-600E-4861-B622-442275FD0F25}" type="slidenum">
              <a:rPr lang="en-US" smtClean="0"/>
            </a:fld>
            <a:endParaRPr lang="en-US"/>
          </a:p>
        </p:txBody>
      </p:sp>
      <p:sp>
        <p:nvSpPr>
          <p:cNvPr id="10" name="Title 1"/>
          <p:cNvSpPr>
            <a:spLocks noGrp="1"/>
          </p:cNvSpPr>
          <p:nvPr>
            <p:ph type="title"/>
          </p:nvPr>
        </p:nvSpPr>
        <p:spPr>
          <a:xfrm>
            <a:off x="617837" y="527294"/>
            <a:ext cx="5189079" cy="498435"/>
          </a:xfrm>
          <a:noFill/>
        </p:spPr>
        <p:txBody>
          <a:bodyPr anchor="ctr">
            <a:normAutofit/>
          </a:bodyPr>
          <a:lstStyle>
            <a:lvl1pPr>
              <a:defRPr sz="2400">
                <a:solidFill>
                  <a:srgbClr val="0000FF"/>
                </a:solidFill>
              </a:defRPr>
            </a:lvl1pPr>
          </a:lstStyle>
          <a:p>
            <a:r>
              <a:rPr lang="en-US" dirty="0"/>
              <a:t>Click to edit Master title style</a:t>
            </a:r>
            <a:endParaRPr lang="en-US" dirty="0"/>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a:xfrm>
            <a:off x="470788" y="360857"/>
            <a:ext cx="9160538" cy="307777"/>
          </a:xfrm>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870865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pic>
        <p:nvPicPr>
          <p:cNvPr id="9" name="文本框 7" descr="门旁边的墙上&#10;&#10;描述已自动生成"/>
          <p:cNvPicPr>
            <a:picLocks noChangeAspect="1"/>
          </p:cNvPicPr>
          <p:nvPr>
            <p:custDataLst>
              <p:tags r:id="rId2"/>
            </p:custDataLst>
          </p:nvPr>
        </p:nvPicPr>
        <p:blipFill>
          <a:blip r:embed="rId3">
            <a:alphaModFix amt="15000"/>
            <a:duotone>
              <a:schemeClr val="accent2">
                <a:shade val="45000"/>
                <a:satMod val="135000"/>
              </a:schemeClr>
              <a:prstClr val="white"/>
            </a:duotone>
          </a:blip>
          <a:srcRect/>
          <a:stretch>
            <a:fillRect/>
          </a:stretch>
        </p:blipFill>
        <p:spPr>
          <a:xfrm flipH="1">
            <a:off x="1" y="0"/>
            <a:ext cx="12191998" cy="6858000"/>
          </a:xfrm>
          <a:prstGeom prst="rect">
            <a:avLst/>
          </a:prstGeom>
          <a:noFill/>
        </p:spPr>
      </p:pic>
      <p:sp>
        <p:nvSpPr>
          <p:cNvPr id="30" name="圆: 空心 29"/>
          <p:cNvSpPr/>
          <p:nvPr>
            <p:custDataLst>
              <p:tags r:id="rId4"/>
            </p:custDataLst>
          </p:nvPr>
        </p:nvSpPr>
        <p:spPr>
          <a:xfrm>
            <a:off x="6301239" y="708025"/>
            <a:ext cx="2814149" cy="2814149"/>
          </a:xfrm>
          <a:prstGeom prst="donut">
            <a:avLst>
              <a:gd name="adj" fmla="val 22664"/>
            </a:avLst>
          </a:prstGeom>
          <a:gradFill flip="none" rotWithShape="1">
            <a:gsLst>
              <a:gs pos="33000">
                <a:srgbClr val="ECECF0">
                  <a:alpha val="0"/>
                </a:srgbClr>
              </a:gs>
              <a:gs pos="91000">
                <a:schemeClr val="accent1"/>
              </a:gs>
            </a:gsLst>
            <a:path path="circle">
              <a:fillToRect t="100000" r="100000"/>
            </a:path>
            <a:tileRect l="-100000" b="-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微软雅黑" panose="020B0503020204020204" charset="-122"/>
            </a:endParaRPr>
          </a:p>
        </p:txBody>
      </p:sp>
      <p:sp>
        <p:nvSpPr>
          <p:cNvPr id="8" name="标题"/>
          <p:cNvSpPr txBox="1">
            <a:spLocks noGrp="1"/>
          </p:cNvSpPr>
          <p:nvPr>
            <p:ph type="title" idx="2" hasCustomPrompt="1"/>
            <p:custDataLst>
              <p:tags r:id="rId5"/>
            </p:custDataLst>
          </p:nvPr>
        </p:nvSpPr>
        <p:spPr>
          <a:xfrm>
            <a:off x="2287905" y="1416050"/>
            <a:ext cx="7611110" cy="2284730"/>
          </a:xfrm>
          <a:prstGeom prst="rect">
            <a:avLst/>
          </a:prstGeom>
          <a:noFill/>
        </p:spPr>
        <p:txBody>
          <a:bodyPr vert="horz" wrap="square" lIns="91440" tIns="45720" rIns="91440" bIns="45720" rtlCol="0" anchor="ctr" anchorCtr="0">
            <a:normAutofit/>
          </a:bodyPr>
          <a:lstStyle>
            <a:lvl1pPr marL="0" marR="0" lvl="0" algn="l" defTabSz="914400" rtl="0" eaLnBrk="1" fontAlgn="auto" latinLnBrk="0" hangingPunct="1">
              <a:lnSpc>
                <a:spcPct val="110000"/>
              </a:lnSpc>
              <a:buClrTx/>
              <a:buSzTx/>
              <a:buFontTx/>
              <a:buNone/>
              <a:defRPr kumimoji="0" lang="zh-CN" altLang="en-US" sz="7200" b="0" i="0" u="none" strike="noStrike" kern="1200" cap="none" spc="600" normalizeH="0" baseline="0" noProof="1" dirty="0">
                <a:solidFill>
                  <a:schemeClr val="tx1"/>
                </a:solidFill>
                <a:uFillTx/>
                <a:latin typeface="+mj-ea"/>
                <a:ea typeface="+mj-ea"/>
                <a:cs typeface="微软雅黑" panose="020B0503020204020204" charset="-122"/>
                <a:sym typeface="+mn-ea"/>
              </a:defRPr>
            </a:lvl1pPr>
          </a:lstStyle>
          <a:p>
            <a:pPr lvl="0" algn="l">
              <a:lnSpc>
                <a:spcPct val="110000"/>
              </a:lnSpc>
              <a:buClrTx/>
              <a:buSzTx/>
              <a:buFontTx/>
            </a:pPr>
            <a:r>
              <a:rPr dirty="0">
                <a:sym typeface="+mn-ea"/>
              </a:rPr>
              <a:t>单击编辑标题</a:t>
            </a:r>
            <a:endParaRPr dirty="0">
              <a:sym typeface="+mn-ea"/>
            </a:endParaRPr>
          </a:p>
        </p:txBody>
      </p:sp>
      <p:sp>
        <p:nvSpPr>
          <p:cNvPr id="4" name="日期占位符 3"/>
          <p:cNvSpPr>
            <a:spLocks noGrp="1"/>
          </p:cNvSpPr>
          <p:nvPr>
            <p:ph type="dt" sz="half" idx="10"/>
            <p:custDataLst>
              <p:tags r:id="rId6"/>
            </p:custDataLst>
          </p:nvPr>
        </p:nvSpPr>
        <p:spPr>
          <a:xfrm>
            <a:off x="838200" y="6356350"/>
            <a:ext cx="2743200" cy="365125"/>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7"/>
            </p:custDataLst>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custDataLst>
              <p:tags r:id="rId8"/>
            </p:custDataLst>
          </p:nvPr>
        </p:nvSpPr>
        <p:spPr>
          <a:xfrm>
            <a:off x="8610600" y="6356350"/>
            <a:ext cx="2743200" cy="365125"/>
          </a:xfrm>
        </p:spPr>
        <p:txBody>
          <a:bodyPr/>
          <a:lstStyle/>
          <a:p>
            <a:fld id="{49AE70B2-8BF9-45C0-BB95-33D1B9D3A854}" type="slidenum">
              <a:rPr lang="zh-CN" altLang="en-US" smtClean="0"/>
            </a:fld>
            <a:endParaRPr lang="zh-CN" altLang="en-US"/>
          </a:p>
        </p:txBody>
      </p:sp>
      <p:sp>
        <p:nvSpPr>
          <p:cNvPr id="10" name="署名占位符 10"/>
          <p:cNvSpPr>
            <a:spLocks noGrp="1"/>
          </p:cNvSpPr>
          <p:nvPr>
            <p:ph type="body" sz="quarter" idx="17" hasCustomPrompt="1"/>
            <p:custDataLst>
              <p:tags r:id="rId9"/>
            </p:custDataLst>
          </p:nvPr>
        </p:nvSpPr>
        <p:spPr>
          <a:xfrm>
            <a:off x="2287904" y="3918584"/>
            <a:ext cx="2117725" cy="457835"/>
          </a:xfrm>
          <a:prstGeom prst="roundRect">
            <a:avLst>
              <a:gd name="adj" fmla="val 50000"/>
            </a:avLst>
          </a:prstGeom>
          <a:solidFill>
            <a:schemeClr val="accent1"/>
          </a:solidFill>
          <a:effectLst/>
        </p:spPr>
        <p:txBody>
          <a:bodyPr wrap="square" lIns="0" rIns="0" anchor="ctr">
            <a:noAutofit/>
          </a:bodyPr>
          <a:lstStyle>
            <a:lvl1pPr marL="0" indent="0" algn="ctr">
              <a:lnSpc>
                <a:spcPct val="100000"/>
              </a:lnSpc>
              <a:buNone/>
              <a:defRPr sz="1600">
                <a:solidFill>
                  <a:srgbClr val="FFFFFF"/>
                </a:solidFill>
                <a:latin typeface="+mj-ea"/>
                <a:ea typeface="+mj-ea"/>
              </a:defRPr>
            </a:lvl1pPr>
          </a:lstStyle>
          <a:p>
            <a:pPr lvl="0"/>
            <a:r>
              <a:rPr lang="zh-CN" altLang="en-US" dirty="0"/>
              <a:t>署名</a:t>
            </a:r>
            <a:endParaRPr lang="zh-CN" altLang="en-US" dirty="0"/>
          </a:p>
        </p:txBody>
      </p:sp>
    </p:spTree>
  </p:cSld>
  <p:clrMapOvr>
    <a:masterClrMapping/>
  </p:clrMapOvr>
  <p:hf sldNum="0"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126603"/>
            <a:ext cx="12192001" cy="2731397"/>
          </a:xfrm>
          <a:prstGeom prst="rect">
            <a:avLst/>
          </a:prstGeom>
        </p:spPr>
      </p:pic>
      <p:sp>
        <p:nvSpPr>
          <p:cNvPr id="10" name="Title Placeholder 2"/>
          <p:cNvSpPr>
            <a:spLocks noGrp="1" noChangeArrowheads="1"/>
          </p:cNvSpPr>
          <p:nvPr>
            <p:ph type="title"/>
          </p:nvPr>
        </p:nvSpPr>
        <p:spPr bwMode="gray">
          <a:xfrm>
            <a:off x="1177473" y="2120597"/>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2" y="548680"/>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3"/>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5"/>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3"/>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1"/>
            <a:ext cx="1880564" cy="622211"/>
          </a:xfrm>
          <a:prstGeom prst="rect">
            <a:avLst/>
          </a:prstGeom>
        </p:spPr>
      </p:pic>
      <p:sp>
        <p:nvSpPr>
          <p:cNvPr id="17" name="Rectangle 16"/>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17911"/>
            <a:ext cx="11273282" cy="449263"/>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a:endParaRPr dirty="0"/>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endParaRPr lang="en-US" dirty="0"/>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endParaRPr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4643043" y="1539157"/>
            <a:ext cx="2976958" cy="984968"/>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showMasterSp="0"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909618" y="762058"/>
            <a:ext cx="4577158" cy="1514418"/>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077DA78-E013-4A8C-AD75-63A150561B10}" type="slidenum">
              <a:rPr lang="zh-CN" altLang="en-US" smtClean="0"/>
            </a:fld>
            <a:endParaRPr lang="zh-CN" altLang="en-US"/>
          </a:p>
        </p:txBody>
      </p:sp>
    </p:spTree>
  </p:cSld>
  <p:clrMapOvr>
    <a:masterClrMapping/>
  </p:clrMapOvr>
  <p:hf sldNum="0"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Slide" r:id="rId3" imgW="9525" imgH="9525" progId="TCLayout.ActiveDocument.1">
                  <p:embed/>
                </p:oleObj>
              </mc:Choice>
              <mc:Fallback>
                <p:oleObj name="think-cell Slide"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1" name="TextBox 10"/>
          <p:cNvSpPr txBox="1"/>
          <p:nvPr/>
        </p:nvSpPr>
        <p:spPr>
          <a:xfrm>
            <a:off x="256940" y="6494848"/>
            <a:ext cx="1171575" cy="179070"/>
          </a:xfrm>
          <a:prstGeom prst="rect">
            <a:avLst/>
          </a:prstGeom>
          <a:noFill/>
        </p:spPr>
        <p:txBody>
          <a:bodyPr wrap="none" lIns="0" tIns="0" rIns="0" bIns="0" rtlCol="0">
            <a:spAutoFit/>
          </a:bodyPr>
          <a:lstStyle/>
          <a:p>
            <a:pPr algn="l"/>
            <a:r>
              <a:rPr lang="en-US" sz="1165" b="1" i="1" dirty="0">
                <a:solidFill>
                  <a:schemeClr val="bg1"/>
                </a:solidFill>
                <a:ea typeface="微软雅黑" panose="020B0503020204020204" charset="-122"/>
                <a:cs typeface="Calibri Light" panose="020F0302020204030204" pitchFamily="34" charset="0"/>
              </a:rPr>
              <a:t>Strictly Confidential</a:t>
            </a:r>
            <a:endParaRPr lang="en-US" sz="1165" b="1" i="1" dirty="0">
              <a:solidFill>
                <a:schemeClr val="bg1"/>
              </a:solidFill>
              <a:ea typeface="微软雅黑" panose="020B0503020204020204" charset="-122"/>
              <a:cs typeface="Calibri Light" panose="020F0302020204030204" pitchFamily="34" charset="0"/>
            </a:endParaRPr>
          </a:p>
        </p:txBody>
      </p:sp>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Slide" r:id="rId4" imgW="12700" imgH="12700" progId="TCLayout.ActiveDocument.1">
                  <p:embed/>
                </p:oleObj>
              </mc:Choice>
              <mc:Fallback>
                <p:oleObj name="think-cell Slide"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showMasterSp="0"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alphaModFix amt="50000"/>
          </a:blip>
          <a:stretch>
            <a:fillRect/>
          </a:stretch>
        </p:blipFill>
        <p:spPr bwMode="ltGray">
          <a:xfrm>
            <a:off x="0" y="0"/>
            <a:ext cx="12192000" cy="6858000"/>
          </a:xfrm>
          <a:prstGeom prst="rect">
            <a:avLst/>
          </a:prstGeom>
        </p:spPr>
      </p:pic>
      <p:sp>
        <p:nvSpPr>
          <p:cNvPr id="11" name="Rectangle 10"/>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ltGray">
          <a:xfrm>
            <a:off x="3671493" y="2566353"/>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Slide" r:id="rId3" imgW="9525" imgH="9525" progId="TCLayout.ActiveDocument.1">
                  <p:embed/>
                </p:oleObj>
              </mc:Choice>
              <mc:Fallback>
                <p:oleObj name="think-cell Slide"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Slide" r:id="rId3" imgW="9525" imgH="9525" progId="TCLayout.ActiveDocument.1">
                  <p:embed/>
                </p:oleObj>
              </mc:Choice>
              <mc:Fallback>
                <p:oleObj name="think-cell Slide"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126603"/>
            <a:ext cx="12192001" cy="2731397"/>
          </a:xfrm>
          <a:prstGeom prst="rect">
            <a:avLst/>
          </a:prstGeom>
        </p:spPr>
      </p:pic>
      <p:sp>
        <p:nvSpPr>
          <p:cNvPr id="10" name="Title Placeholder 2"/>
          <p:cNvSpPr>
            <a:spLocks noGrp="1" noChangeArrowheads="1"/>
          </p:cNvSpPr>
          <p:nvPr>
            <p:ph type="title"/>
          </p:nvPr>
        </p:nvSpPr>
        <p:spPr bwMode="gray">
          <a:xfrm>
            <a:off x="1177473" y="2120597"/>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2" y="548680"/>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98500" y="5296958"/>
            <a:ext cx="2286000" cy="304271"/>
          </a:xfrm>
        </p:spPr>
        <p:txBody>
          <a:bodyPr/>
          <a:lstStyle>
            <a:lvl1pPr>
              <a:defRPr>
                <a:ea typeface="微软雅黑" panose="020B0503020204020204" charset="-122"/>
                <a:cs typeface="微软雅黑" panose="020B0503020204020204" charset="-122"/>
              </a:defRPr>
            </a:lvl1p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3365500" y="5296958"/>
            <a:ext cx="3429000" cy="304271"/>
          </a:xfrm>
        </p:spPr>
        <p:txBody>
          <a:bodyPr/>
          <a:lstStyle>
            <a:lvl1pPr>
              <a:defRPr>
                <a:ea typeface="微软雅黑" panose="020B0503020204020204" charset="-122"/>
                <a:cs typeface="微软雅黑" panose="020B0503020204020204" charset="-122"/>
              </a:defRPr>
            </a:lvl1pPr>
          </a:lstStyle>
          <a:p>
            <a:endParaRPr lang="zh-CN" altLang="en-US"/>
          </a:p>
        </p:txBody>
      </p:sp>
      <p:sp>
        <p:nvSpPr>
          <p:cNvPr id="4" name="灯片编号占位符 3"/>
          <p:cNvSpPr>
            <a:spLocks noGrp="1"/>
          </p:cNvSpPr>
          <p:nvPr>
            <p:ph type="sldNum" sz="quarter" idx="12"/>
          </p:nvPr>
        </p:nvSpPr>
        <p:spPr>
          <a:xfrm>
            <a:off x="7175500" y="5296958"/>
            <a:ext cx="2286000" cy="304271"/>
          </a:xfrm>
        </p:spPr>
        <p:txBody>
          <a:bodyPr/>
          <a:lstStyle>
            <a:lvl1pPr>
              <a:defRPr>
                <a:ea typeface="微软雅黑" panose="020B0503020204020204" charset="-122"/>
                <a:cs typeface="微软雅黑" panose="020B0503020204020204" charset="-122"/>
              </a:defRPr>
            </a:lvl1pPr>
          </a:lstStyle>
          <a:p>
            <a:fld id="{7D9BB5D0-35E4-459D-AEF3-FE4D7C45CC19}" type="slidenum">
              <a:rPr lang="zh-CN" altLang="en-US" smtClean="0"/>
            </a:fld>
            <a:endParaRPr lang="zh-CN" alt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20" y="1588"/>
          <a:ext cx="2116" cy="1587"/>
        </p:xfrm>
        <a:graphic>
          <a:graphicData uri="http://schemas.openxmlformats.org/presentationml/2006/ole">
            <mc:AlternateContent xmlns:mc="http://schemas.openxmlformats.org/markup-compatibility/2006">
              <mc:Choice xmlns:v="urn:schemas-microsoft-com:vml" Requires="v">
                <p:oleObj spid="_x0000_s2" name="think-cell Slide" r:id="rId3" imgW="9525" imgH="9525" progId="TCLayout.ActiveDocument.1">
                  <p:embed/>
                </p:oleObj>
              </mc:Choice>
              <mc:Fallback>
                <p:oleObj name="think-cell Slide" r:id="rId3" imgW="9525" imgH="9525" progId="TCLayout.ActiveDocument.1">
                  <p:embed/>
                  <p:pic>
                    <p:nvPicPr>
                      <p:cNvPr id="0" name="Object 2" hidden="1"/>
                      <p:cNvPicPr/>
                      <p:nvPr/>
                    </p:nvPicPr>
                    <p:blipFill>
                      <a:blip r:embed="rId4"/>
                      <a:stretch>
                        <a:fillRect/>
                      </a:stretch>
                    </p:blipFill>
                    <p:spPr>
                      <a:xfrm>
                        <a:off x="2120"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sp>
        <p:nvSpPr>
          <p:cNvPr id="6" name="Title Placeholder 2"/>
          <p:cNvSpPr>
            <a:spLocks noGrp="1" noChangeArrowheads="1"/>
          </p:cNvSpPr>
          <p:nvPr>
            <p:ph type="title" hasCustomPrompt="1"/>
          </p:nvPr>
        </p:nvSpPr>
        <p:spPr bwMode="gray">
          <a:xfrm>
            <a:off x="470789" y="139561"/>
            <a:ext cx="11250426" cy="52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lvl1pPr>
              <a:defRPr sz="2335" baseline="0">
                <a:ea typeface="微软雅黑" panose="020B0503020204020204" charset="-122"/>
              </a:defRPr>
            </a:lvl1pPr>
          </a:lstStyle>
          <a:p>
            <a:pPr lvl="0"/>
            <a:r>
              <a:rPr lang="en-US" altLang="zh-CN" noProof="0" dirty="0"/>
              <a:t>Table of contents</a:t>
            </a:r>
            <a:endParaRPr lang="en-US" noProof="0" dirty="0"/>
          </a:p>
        </p:txBody>
      </p:sp>
      <p:cxnSp>
        <p:nvCxnSpPr>
          <p:cNvPr id="7" name="Straight Connector 6"/>
          <p:cNvCxnSpPr/>
          <p:nvPr/>
        </p:nvCxnSpPr>
        <p:spPr bwMode="ltGray">
          <a:xfrm>
            <a:off x="470789"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ext Placeholder 2"/>
          <p:cNvSpPr>
            <a:spLocks noGrp="1"/>
          </p:cNvSpPr>
          <p:nvPr>
            <p:ph idx="1"/>
          </p:nvPr>
        </p:nvSpPr>
        <p:spPr bwMode="gray">
          <a:xfrm>
            <a:off x="470788" y="1056694"/>
            <a:ext cx="11250425" cy="1228725"/>
          </a:xfrm>
          <a:prstGeom prst="rect">
            <a:avLst/>
          </a:prstGeom>
        </p:spPr>
        <p:txBody>
          <a:bodyPr vert="horz" wrap="square" lIns="0" tIns="0" rIns="0" bIns="0" rtlCol="0">
            <a:spAutoFit/>
          </a:bodyPr>
          <a:lstStyle>
            <a:lvl1pPr>
              <a:defRPr baseline="0">
                <a:ea typeface="微软雅黑" panose="020B0503020204020204" charset="-122"/>
              </a:defRPr>
            </a:lvl1pPr>
            <a:lvl2pPr>
              <a:defRPr baseline="0">
                <a:ea typeface="微软雅黑" panose="020B0503020204020204" charset="-122"/>
              </a:defRPr>
            </a:lvl2pPr>
            <a:lvl3pPr>
              <a:defRPr baseline="0">
                <a:ea typeface="微软雅黑" panose="020B0503020204020204" charset="-122"/>
              </a:defRPr>
            </a:lvl3pPr>
            <a:lvl4pPr>
              <a:defRPr baseline="0">
                <a:ea typeface="微软雅黑" panose="020B0503020204020204" charset="-122"/>
              </a:defRPr>
            </a:lvl4pPr>
            <a:lvl5pPr>
              <a:defRPr baseline="0">
                <a:ea typeface="微软雅黑" panose="020B0503020204020204" charset="-122"/>
              </a:defRPr>
            </a:lvl5p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AC1B7B3F-A56B-4310-A966-BD55D80449F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3127340-2293-49D2-96F1-6E7BF0C8FD9C}" type="slidenum">
              <a:rPr lang="zh-CN" altLang="en-US" smtClean="0"/>
            </a:fld>
            <a:endParaRPr lang="zh-CN" alt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a:t>Click to edit Master title style</a:t>
            </a:r>
            <a:endParaRPr lang="en-US" noProof="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a:t>Click to edit Master title style</a:t>
            </a:r>
            <a:endParaRPr lang="en-US" noProof="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65" b="0" i="0" u="sng">
                <a:solidFill>
                  <a:srgbClr val="31648A"/>
                </a:solidFill>
                <a:latin typeface="+mj-lt"/>
                <a:cs typeface="微软雅黑" panose="020B0503020204020204" charset="-122"/>
              </a:defRPr>
            </a:lvl1pPr>
          </a:lstStyle>
          <a:p/>
        </p:txBody>
      </p:sp>
      <p:sp>
        <p:nvSpPr>
          <p:cNvPr id="3" name="Holder 3"/>
          <p:cNvSpPr>
            <a:spLocks noGrp="1"/>
          </p:cNvSpPr>
          <p:nvPr>
            <p:ph type="body" idx="1"/>
          </p:nvPr>
        </p:nvSpPr>
        <p:spPr>
          <a:xfrm>
            <a:off x="470788" y="1056694"/>
            <a:ext cx="11250425" cy="274108"/>
          </a:xfrm>
        </p:spPr>
        <p:txBody>
          <a:bodyPr lIns="0" tIns="0" rIns="0" bIns="0"/>
          <a:lstStyle>
            <a:lvl1pPr>
              <a:defRPr sz="1500" b="0" i="0">
                <a:solidFill>
                  <a:srgbClr val="31648A"/>
                </a:solidFill>
                <a:latin typeface="+mn-lt"/>
                <a:cs typeface="微软雅黑" panose="020B0503020204020204" charset="-122"/>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fld id="{56110809-9AAE-4538-AD14-79B40C94CF21}" type="datetime1">
              <a:rPr lang="en-US" smtClean="0"/>
            </a:fld>
            <a:endParaRPr lang="en-US" dirty="0"/>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endParaRPr dirty="0"/>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39078"/>
            <a:ext cx="11273282" cy="406400"/>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p:txBody>
      </p:sp>
      <p:sp>
        <p:nvSpPr>
          <p:cNvPr id="3" name="Holder 3"/>
          <p:cNvSpPr>
            <a:spLocks noGrp="1"/>
          </p:cNvSpPr>
          <p:nvPr>
            <p:ph type="subTitle" idx="4"/>
          </p:nvPr>
        </p:nvSpPr>
        <p:spPr>
          <a:xfrm>
            <a:off x="1828800" y="3840480"/>
            <a:ext cx="8534400" cy="228600"/>
          </a:xfrm>
          <a:prstGeom prst="rect">
            <a:avLst/>
          </a:prstGeom>
        </p:spPr>
        <p:txBody>
          <a:bodyPr wrap="square" lIns="0" tIns="0" rIns="0" bIns="0">
            <a:spAutoFit/>
          </a:bodyPr>
          <a:lstStyle>
            <a:lvl1pPr>
              <a:defRPr>
                <a:latin typeface="+mn-lt"/>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BD9679-9480-4175-9F90-2661632E2A7E}" type="datetime1">
              <a:rPr lang="en-US" smtClean="0"/>
            </a:fld>
            <a:endParaRPr lang="en-US"/>
          </a:p>
        </p:txBody>
      </p:sp>
      <p:sp>
        <p:nvSpPr>
          <p:cNvPr id="6" name="Holder 6"/>
          <p:cNvSpPr>
            <a:spLocks noGrp="1"/>
          </p:cNvSpPr>
          <p:nvPr>
            <p:ph type="sldNum" sz="quarter" idx="7"/>
          </p:nvPr>
        </p:nvSpPr>
        <p:spPr>
          <a:xfrm>
            <a:off x="11903604" y="6528647"/>
            <a:ext cx="171979" cy="264583"/>
          </a:xfrm>
        </p:spPr>
        <p:txBody>
          <a:bodyPr lIns="0" tIns="0" rIns="0" bIns="0"/>
          <a:lstStyle>
            <a:lvl1pPr>
              <a:defRPr sz="1000" b="0" i="0">
                <a:solidFill>
                  <a:schemeClr val="tx1"/>
                </a:solidFill>
                <a:latin typeface="+mn-lt"/>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a:t>Click to edit Master title style</a:t>
            </a:r>
            <a:endParaRPr lang="en-US" noProof="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a:t>Click to edit Master title style</a:t>
            </a:r>
            <a:endParaRPr lang="en-US" noProof="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65" b="0" i="0" u="sng">
                <a:solidFill>
                  <a:srgbClr val="31648A"/>
                </a:solidFill>
                <a:latin typeface="+mj-lt"/>
                <a:cs typeface="微软雅黑" panose="020B0503020204020204" charset="-122"/>
              </a:defRPr>
            </a:lvl1pPr>
          </a:lstStyle>
          <a:p/>
        </p:txBody>
      </p:sp>
      <p:sp>
        <p:nvSpPr>
          <p:cNvPr id="3" name="Holder 3"/>
          <p:cNvSpPr>
            <a:spLocks noGrp="1"/>
          </p:cNvSpPr>
          <p:nvPr>
            <p:ph type="body" idx="1"/>
          </p:nvPr>
        </p:nvSpPr>
        <p:spPr>
          <a:xfrm>
            <a:off x="470788" y="1056694"/>
            <a:ext cx="11250425" cy="274108"/>
          </a:xfrm>
        </p:spPr>
        <p:txBody>
          <a:bodyPr lIns="0" tIns="0" rIns="0" bIns="0"/>
          <a:lstStyle>
            <a:lvl1pPr>
              <a:defRPr sz="1500" b="0" i="0">
                <a:solidFill>
                  <a:srgbClr val="31648A"/>
                </a:solidFill>
                <a:latin typeface="+mn-lt"/>
                <a:cs typeface="微软雅黑" panose="020B0503020204020204" charset="-122"/>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fld id="{56110809-9AAE-4538-AD14-79B40C94CF21}" type="datetime1">
              <a:rPr lang="en-US" smtClean="0"/>
            </a:fld>
            <a:endParaRPr lang="en-US" dirty="0"/>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endParaRPr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n-lt"/>
                <a:ea typeface="微软雅黑" panose="020B0503020204020204" charset="-122"/>
                <a:cs typeface="微软雅黑" panose="020B050302020402020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3" name="Footer Placeholder 2"/>
          <p:cNvSpPr>
            <a:spLocks noGrp="1"/>
          </p:cNvSpPr>
          <p:nvPr>
            <p:ph type="ftr" sz="quarter" idx="11"/>
          </p:nvPr>
        </p:nvSpPr>
        <p:spPr/>
        <p:txBody>
          <a:bodyPr/>
          <a:lstStyle>
            <a:lvl1pPr>
              <a:defRPr>
                <a:latin typeface="+mn-lt"/>
                <a:ea typeface="微软雅黑" panose="020B0503020204020204" charset="-122"/>
                <a:cs typeface="微软雅黑" panose="020B050302020402020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4" name="Slide Number Placeholder 3"/>
          <p:cNvSpPr>
            <a:spLocks noGrp="1"/>
          </p:cNvSpPr>
          <p:nvPr>
            <p:ph type="sldNum" sz="quarter" idx="12"/>
          </p:nvPr>
        </p:nvSpPr>
        <p:spPr/>
        <p:txBody>
          <a:bodyPr/>
          <a:lstStyle>
            <a:lvl1pPr>
              <a:defRPr>
                <a:latin typeface="+mn-lt"/>
                <a:ea typeface="微软雅黑" panose="020B0503020204020204" charset="-122"/>
                <a:cs typeface="微软雅黑" panose="020B050302020402020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59358" y="239078"/>
            <a:ext cx="11273282" cy="406400"/>
          </a:xfrm>
        </p:spPr>
        <p:txBody>
          <a:bodyPr lIns="0" tIns="0" rIns="0" bIns="0"/>
          <a:lstStyle>
            <a:lvl1pPr>
              <a:defRPr sz="2665" b="0" i="0" u="sng">
                <a:solidFill>
                  <a:srgbClr val="31648A"/>
                </a:solidFill>
                <a:latin typeface="+mj-lt"/>
                <a:cs typeface="微软雅黑" panose="020B0503020204020204" charset="-122"/>
              </a:defRPr>
            </a:lvl1pPr>
          </a:lstStyle>
          <a:p/>
        </p:txBody>
      </p:sp>
      <p:sp>
        <p:nvSpPr>
          <p:cNvPr id="3" name="Holder 3"/>
          <p:cNvSpPr>
            <a:spLocks noGrp="1"/>
          </p:cNvSpPr>
          <p:nvPr>
            <p:ph type="body" idx="1"/>
          </p:nvPr>
        </p:nvSpPr>
        <p:spPr>
          <a:xfrm>
            <a:off x="536533" y="1999086"/>
            <a:ext cx="11118934" cy="228600"/>
          </a:xfrm>
        </p:spPr>
        <p:txBody>
          <a:bodyPr lIns="0" tIns="0" rIns="0" bIns="0"/>
          <a:lstStyle>
            <a:lvl1pPr>
              <a:defRPr sz="1500" b="0" i="0">
                <a:solidFill>
                  <a:srgbClr val="31648A"/>
                </a:solidFill>
                <a:latin typeface="+mn-lt"/>
                <a:cs typeface="微软雅黑" panose="020B0503020204020204" charset="-122"/>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99E9697-93E6-4AF2-9C3D-EA4A630D9CC7}" type="datetime1">
              <a:rPr lang="en-US" smtClean="0"/>
            </a:fld>
            <a:endParaRPr lang="en-US"/>
          </a:p>
        </p:txBody>
      </p:sp>
      <p:sp>
        <p:nvSpPr>
          <p:cNvPr id="6" name="Holder 6"/>
          <p:cNvSpPr>
            <a:spLocks noGrp="1"/>
          </p:cNvSpPr>
          <p:nvPr>
            <p:ph type="sldNum" sz="quarter" idx="7"/>
          </p:nvPr>
        </p:nvSpPr>
        <p:spPr>
          <a:xfrm>
            <a:off x="11903604" y="6528647"/>
            <a:ext cx="171979" cy="264583"/>
          </a:xfrm>
        </p:spPr>
        <p:txBody>
          <a:bodyPr lIns="0" tIns="0" rIns="0" bIns="0"/>
          <a:lstStyle>
            <a:lvl1pPr>
              <a:defRPr sz="1000" b="0" i="0">
                <a:solidFill>
                  <a:schemeClr val="tx1"/>
                </a:solidFill>
                <a:latin typeface="+mn-lt"/>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59358" y="239078"/>
            <a:ext cx="11273282" cy="406400"/>
          </a:xfrm>
        </p:spPr>
        <p:txBody>
          <a:bodyPr lIns="0" tIns="0" rIns="0" bIns="0"/>
          <a:lstStyle>
            <a:lvl1pPr>
              <a:defRPr sz="2665" b="0" i="0" u="sng">
                <a:solidFill>
                  <a:srgbClr val="31648A"/>
                </a:solidFill>
                <a:latin typeface="+mj-lt"/>
                <a:cs typeface="微软雅黑" panose="020B0503020204020204" charset="-122"/>
              </a:defRPr>
            </a:lvl1pPr>
          </a:lstStyle>
          <a:p/>
        </p:txBody>
      </p:sp>
      <p:sp>
        <p:nvSpPr>
          <p:cNvPr id="3" name="Holder 3"/>
          <p:cNvSpPr>
            <a:spLocks noGrp="1"/>
          </p:cNvSpPr>
          <p:nvPr>
            <p:ph sz="half" idx="2"/>
          </p:nvPr>
        </p:nvSpPr>
        <p:spPr>
          <a:xfrm>
            <a:off x="609600" y="1577340"/>
            <a:ext cx="5303520" cy="228600"/>
          </a:xfrm>
          <a:prstGeom prst="rect">
            <a:avLst/>
          </a:prstGeom>
        </p:spPr>
        <p:txBody>
          <a:bodyPr wrap="square" lIns="0" tIns="0" rIns="0" bIns="0">
            <a:spAutoFit/>
          </a:bodyPr>
          <a:lstStyle>
            <a:lvl1pPr>
              <a:defRPr>
                <a:latin typeface="+mn-lt"/>
              </a:defRPr>
            </a:lvl1pPr>
          </a:lstStyle>
          <a:p/>
        </p:txBody>
      </p:sp>
      <p:sp>
        <p:nvSpPr>
          <p:cNvPr id="4" name="Holder 4"/>
          <p:cNvSpPr>
            <a:spLocks noGrp="1"/>
          </p:cNvSpPr>
          <p:nvPr>
            <p:ph sz="half" idx="3"/>
          </p:nvPr>
        </p:nvSpPr>
        <p:spPr>
          <a:xfrm>
            <a:off x="6278880" y="1577340"/>
            <a:ext cx="5303520" cy="228600"/>
          </a:xfrm>
          <a:prstGeom prst="rect">
            <a:avLst/>
          </a:prstGeom>
        </p:spPr>
        <p:txBody>
          <a:bodyPr wrap="square" lIns="0" tIns="0" rIns="0" bIns="0">
            <a:spAutoFit/>
          </a:bodyPr>
          <a:lstStyle>
            <a:lvl1pPr>
              <a:defRPr>
                <a:latin typeface="+mn-lt"/>
              </a:defRPr>
            </a:lvl1pPr>
          </a:lstStyle>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AD2FDD8-2EBC-41B9-834F-216694B644A3}" type="datetime1">
              <a:rPr lang="en-US" smtClean="0"/>
            </a:fld>
            <a:endParaRPr lang="en-US"/>
          </a:p>
        </p:txBody>
      </p:sp>
      <p:sp>
        <p:nvSpPr>
          <p:cNvPr id="7" name="Holder 7"/>
          <p:cNvSpPr>
            <a:spLocks noGrp="1"/>
          </p:cNvSpPr>
          <p:nvPr>
            <p:ph type="sldNum" sz="quarter" idx="7"/>
          </p:nvPr>
        </p:nvSpPr>
        <p:spPr>
          <a:xfrm>
            <a:off x="11903604" y="6528647"/>
            <a:ext cx="171979" cy="264583"/>
          </a:xfrm>
        </p:spPr>
        <p:txBody>
          <a:bodyPr lIns="0" tIns="0" rIns="0" bIns="0"/>
          <a:lstStyle>
            <a:lvl1pPr>
              <a:defRPr sz="1000" b="0" i="0">
                <a:solidFill>
                  <a:schemeClr val="tx1"/>
                </a:solidFill>
                <a:latin typeface="+mn-lt"/>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showMasterSp="0">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5379719"/>
            <a:ext cx="10502899" cy="1478278"/>
          </a:xfrm>
          <a:prstGeom prst="rect">
            <a:avLst/>
          </a:prstGeom>
          <a:blipFill>
            <a:blip r:embed="rId2" cstate="print"/>
            <a:stretch>
              <a:fillRect/>
            </a:stretch>
          </a:blipFill>
        </p:spPr>
        <p:txBody>
          <a:bodyPr wrap="square" lIns="0" tIns="0" rIns="0" bIns="0" rtlCol="0"/>
          <a:lstStyle/>
          <a:p>
            <a:endParaRPr sz="1500">
              <a:ea typeface="微软雅黑" panose="020B0503020204020204" charset="-122"/>
              <a:cs typeface="微软雅黑" panose="020B0503020204020204" charset="-122"/>
            </a:endParaRPr>
          </a:p>
        </p:txBody>
      </p:sp>
      <p:sp>
        <p:nvSpPr>
          <p:cNvPr id="17" name="bk object 17"/>
          <p:cNvSpPr/>
          <p:nvPr/>
        </p:nvSpPr>
        <p:spPr>
          <a:xfrm>
            <a:off x="9856470" y="6007099"/>
            <a:ext cx="1879600" cy="622300"/>
          </a:xfrm>
          <a:prstGeom prst="rect">
            <a:avLst/>
          </a:prstGeom>
          <a:blipFill>
            <a:blip r:embed="rId3" cstate="print"/>
            <a:stretch>
              <a:fillRect/>
            </a:stretch>
          </a:blipFill>
        </p:spPr>
        <p:txBody>
          <a:bodyPr wrap="square" lIns="0" tIns="0" rIns="0" bIns="0" rtlCol="0"/>
          <a:lstStyle/>
          <a:p>
            <a:endParaRPr sz="1500">
              <a:ea typeface="微软雅黑" panose="020B0503020204020204" charset="-122"/>
              <a:cs typeface="微软雅黑" panose="020B0503020204020204" charset="-122"/>
            </a:endParaRPr>
          </a:p>
        </p:txBody>
      </p:sp>
      <p:sp>
        <p:nvSpPr>
          <p:cNvPr id="18" name="bk object 18"/>
          <p:cNvSpPr/>
          <p:nvPr/>
        </p:nvSpPr>
        <p:spPr>
          <a:xfrm>
            <a:off x="471170" y="914400"/>
            <a:ext cx="10260330" cy="5029200"/>
          </a:xfrm>
          <a:prstGeom prst="rect">
            <a:avLst/>
          </a:prstGeom>
          <a:blipFill>
            <a:blip r:embed="rId4" cstate="print"/>
            <a:stretch>
              <a:fillRect/>
            </a:stretch>
          </a:blipFill>
        </p:spPr>
        <p:txBody>
          <a:bodyPr wrap="square" lIns="0" tIns="0" rIns="0" bIns="0" rtlCol="0"/>
          <a:lstStyle/>
          <a:p>
            <a:endParaRPr sz="1500">
              <a:ea typeface="微软雅黑" panose="020B0503020204020204" charset="-122"/>
              <a:cs typeface="微软雅黑" panose="020B0503020204020204" charset="-122"/>
            </a:endParaRPr>
          </a:p>
        </p:txBody>
      </p:sp>
      <p:sp>
        <p:nvSpPr>
          <p:cNvPr id="2" name="Holder 2"/>
          <p:cNvSpPr>
            <a:spLocks noGrp="1"/>
          </p:cNvSpPr>
          <p:nvPr>
            <p:ph type="title"/>
          </p:nvPr>
        </p:nvSpPr>
        <p:spPr>
          <a:xfrm>
            <a:off x="459358" y="239078"/>
            <a:ext cx="11273282" cy="406400"/>
          </a:xfrm>
        </p:spPr>
        <p:txBody>
          <a:bodyPr lIns="0" tIns="0" rIns="0" bIns="0"/>
          <a:lstStyle>
            <a:lvl1pPr>
              <a:defRPr sz="2665" b="0" i="0" u="sng">
                <a:solidFill>
                  <a:srgbClr val="31648A"/>
                </a:solidFill>
                <a:latin typeface="+mj-lt"/>
                <a:cs typeface="微软雅黑" panose="020B0503020204020204" charset="-122"/>
              </a:defRPr>
            </a:lvl1pPr>
          </a:lstStyle>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73DF917-7F59-4ACF-8168-38DDC3676860}" type="datetime1">
              <a:rPr lang="en-US" smtClean="0"/>
            </a:fld>
            <a:endParaRPr lang="en-US"/>
          </a:p>
        </p:txBody>
      </p:sp>
      <p:sp>
        <p:nvSpPr>
          <p:cNvPr id="5" name="Holder 5"/>
          <p:cNvSpPr>
            <a:spLocks noGrp="1"/>
          </p:cNvSpPr>
          <p:nvPr>
            <p:ph type="sldNum" sz="quarter" idx="7"/>
          </p:nvPr>
        </p:nvSpPr>
        <p:spPr>
          <a:xfrm>
            <a:off x="11903604" y="6528647"/>
            <a:ext cx="171979" cy="264583"/>
          </a:xfrm>
        </p:spPr>
        <p:txBody>
          <a:bodyPr lIns="0" tIns="0" rIns="0" bIns="0"/>
          <a:lstStyle>
            <a:lvl1pPr>
              <a:defRPr sz="1000" b="0" i="0">
                <a:solidFill>
                  <a:schemeClr val="tx1"/>
                </a:solidFill>
                <a:latin typeface="+mn-lt"/>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showMasterSp="0">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1999" cy="6857998"/>
          </a:xfrm>
          <a:prstGeom prst="rect">
            <a:avLst/>
          </a:prstGeom>
          <a:blipFill>
            <a:blip r:embed="rId2" cstate="print"/>
            <a:stretch>
              <a:fillRect/>
            </a:stretch>
          </a:blipFill>
        </p:spPr>
        <p:txBody>
          <a:bodyPr wrap="square" lIns="0" tIns="0" rIns="0" bIns="0" rtlCol="0"/>
          <a:lstStyle/>
          <a:p>
            <a:endParaRPr sz="1500">
              <a:ea typeface="微软雅黑" panose="020B0503020204020204" charset="-122"/>
              <a:cs typeface="微软雅黑" panose="020B0503020204020204" charset="-122"/>
            </a:endParaRPr>
          </a:p>
        </p:txBody>
      </p:sp>
      <p:sp>
        <p:nvSpPr>
          <p:cNvPr id="17" name="bk object 17"/>
          <p:cNvSpPr/>
          <p:nvPr/>
        </p:nvSpPr>
        <p:spPr>
          <a:xfrm>
            <a:off x="0" y="0"/>
            <a:ext cx="12192000" cy="6858000"/>
          </a:xfrm>
          <a:custGeom>
            <a:avLst/>
            <a:gdLst/>
            <a:ahLst/>
            <a:cxnLst/>
            <a:rect l="l" t="t" r="r" b="b"/>
            <a:pathLst>
              <a:path w="14630400" h="8229600">
                <a:moveTo>
                  <a:pt x="0" y="8229600"/>
                </a:moveTo>
                <a:lnTo>
                  <a:pt x="14630400" y="8229600"/>
                </a:lnTo>
                <a:lnTo>
                  <a:pt x="14630400" y="0"/>
                </a:lnTo>
                <a:lnTo>
                  <a:pt x="0" y="0"/>
                </a:lnTo>
                <a:lnTo>
                  <a:pt x="0" y="8229600"/>
                </a:lnTo>
                <a:close/>
              </a:path>
            </a:pathLst>
          </a:custGeom>
          <a:solidFill>
            <a:srgbClr val="31648A">
              <a:alpha val="19999"/>
            </a:srgbClr>
          </a:solidFill>
        </p:spPr>
        <p:txBody>
          <a:bodyPr wrap="square" lIns="0" tIns="0" rIns="0" bIns="0" rtlCol="0"/>
          <a:lstStyle/>
          <a:p>
            <a:endParaRPr sz="1500">
              <a:ea typeface="微软雅黑" panose="020B0503020204020204" charset="-122"/>
              <a:cs typeface="微软雅黑" panose="020B0503020204020204" charset="-122"/>
            </a:endParaRPr>
          </a:p>
        </p:txBody>
      </p:sp>
      <p:sp>
        <p:nvSpPr>
          <p:cNvPr id="18" name="bk object 18"/>
          <p:cNvSpPr/>
          <p:nvPr/>
        </p:nvSpPr>
        <p:spPr>
          <a:xfrm>
            <a:off x="3671570" y="2256790"/>
            <a:ext cx="4848860" cy="1605280"/>
          </a:xfrm>
          <a:prstGeom prst="rect">
            <a:avLst/>
          </a:prstGeom>
          <a:blipFill>
            <a:blip r:embed="rId3" cstate="print"/>
            <a:stretch>
              <a:fillRect/>
            </a:stretch>
          </a:blipFill>
        </p:spPr>
        <p:txBody>
          <a:bodyPr wrap="square" lIns="0" tIns="0" rIns="0" bIns="0" rtlCol="0"/>
          <a:lstStyle/>
          <a:p>
            <a:endParaRPr sz="1500">
              <a:ea typeface="微软雅黑" panose="020B0503020204020204" charset="-122"/>
              <a:cs typeface="微软雅黑" panose="020B0503020204020204" charset="-122"/>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32F72FBA-D274-4537-9412-B891C7A38DD7}" type="datetime1">
              <a:rPr lang="en-US" smtClean="0"/>
            </a:fld>
            <a:endParaRPr lang="en-US"/>
          </a:p>
        </p:txBody>
      </p:sp>
      <p:sp>
        <p:nvSpPr>
          <p:cNvPr id="4" name="Holder 4"/>
          <p:cNvSpPr>
            <a:spLocks noGrp="1"/>
          </p:cNvSpPr>
          <p:nvPr>
            <p:ph type="sldNum" sz="quarter" idx="7"/>
          </p:nvPr>
        </p:nvSpPr>
        <p:spPr>
          <a:xfrm>
            <a:off x="11903604" y="6528647"/>
            <a:ext cx="171979" cy="264583"/>
          </a:xfrm>
        </p:spPr>
        <p:txBody>
          <a:bodyPr lIns="0" tIns="0" rIns="0" bIns="0"/>
          <a:lstStyle>
            <a:lvl1pPr>
              <a:defRPr sz="1000" b="0" i="0">
                <a:solidFill>
                  <a:schemeClr val="tx1"/>
                </a:solidFill>
                <a:latin typeface="+mn-lt"/>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8" name="正文" descr="7b0a20202020227461726765744d6f64756c65223a202270726f636573734f6e6c696e65466f6e7473220a7d0a"/>
          <p:cNvSpPr txBox="1">
            <a:spLocks noGrp="1"/>
          </p:cNvSpPr>
          <p:nvPr>
            <p:ph idx="3"/>
            <p:custDataLst>
              <p:tags r:id="rId2"/>
            </p:custDataLst>
          </p:nvPr>
        </p:nvSpPr>
        <p:spPr>
          <a:xfrm>
            <a:off x="608400" y="1490400"/>
            <a:ext cx="10969200" cy="4759200"/>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1200"/>
              </a:spcBef>
              <a:spcAft>
                <a:spcPts val="0"/>
              </a:spcAft>
              <a:buClr>
                <a:srgbClr val="116CEE"/>
              </a:buClr>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mn-ea"/>
                <a:ea typeface="+mn-ea"/>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ea"/>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ea"/>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ea"/>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ea"/>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spcBef>
                <a:spcPts val="1200"/>
              </a:spcBef>
              <a:spcAft>
                <a:spcPts val="0"/>
              </a:spcAft>
              <a:buClr>
                <a:srgbClr val="116CEE"/>
              </a:buClr>
            </a:pPr>
            <a:r>
              <a:rPr dirty="0">
                <a:sym typeface="+mn-ea"/>
              </a:rPr>
              <a:t>单击此处编辑母版文本样式</a:t>
            </a:r>
            <a:endParaRPr dirty="0">
              <a:sym typeface="+mn-ea"/>
            </a:endParaRPr>
          </a:p>
          <a:p>
            <a:pPr lvl="1">
              <a:spcBef>
                <a:spcPts val="1200"/>
              </a:spcBef>
              <a:spcAft>
                <a:spcPts val="0"/>
              </a:spcAft>
              <a:buClr>
                <a:srgbClr val="116CEE"/>
              </a:buClr>
            </a:pPr>
            <a:r>
              <a:rPr dirty="0" err="1">
                <a:sym typeface="+mn-ea"/>
              </a:rPr>
              <a:t>第二级</a:t>
            </a:r>
            <a:endParaRPr dirty="0">
              <a:sym typeface="+mn-ea"/>
            </a:endParaRPr>
          </a:p>
          <a:p>
            <a:pPr lvl="2">
              <a:spcBef>
                <a:spcPts val="1200"/>
              </a:spcBef>
              <a:spcAft>
                <a:spcPts val="0"/>
              </a:spcAft>
              <a:buClr>
                <a:srgbClr val="116CEE"/>
              </a:buClr>
            </a:pPr>
            <a:r>
              <a:rPr dirty="0" err="1">
                <a:sym typeface="+mn-ea"/>
              </a:rPr>
              <a:t>第三级</a:t>
            </a:r>
            <a:endParaRPr dirty="0">
              <a:sym typeface="+mn-ea"/>
            </a:endParaRPr>
          </a:p>
          <a:p>
            <a:pPr lvl="3">
              <a:spcBef>
                <a:spcPts val="1200"/>
              </a:spcBef>
              <a:spcAft>
                <a:spcPts val="0"/>
              </a:spcAft>
              <a:buClr>
                <a:srgbClr val="116CEE"/>
              </a:buClr>
            </a:pPr>
            <a:r>
              <a:rPr dirty="0" err="1">
                <a:sym typeface="+mn-ea"/>
              </a:rPr>
              <a:t>第四级</a:t>
            </a:r>
            <a:endParaRPr dirty="0">
              <a:sym typeface="+mn-ea"/>
            </a:endParaRPr>
          </a:p>
          <a:p>
            <a:pPr lvl="4">
              <a:spcBef>
                <a:spcPts val="1200"/>
              </a:spcBef>
              <a:spcAft>
                <a:spcPts val="0"/>
              </a:spcAft>
              <a:buClr>
                <a:srgbClr val="116CEE"/>
              </a:buClr>
            </a:pPr>
            <a:r>
              <a:rPr dirty="0" err="1">
                <a:sym typeface="+mn-ea"/>
              </a:rPr>
              <a:t>第五级</a:t>
            </a:r>
            <a:endParaRPr dirty="0">
              <a:sym typeface="+mn-ea"/>
            </a:endParaRPr>
          </a:p>
        </p:txBody>
      </p:sp>
      <p:sp>
        <p:nvSpPr>
          <p:cNvPr id="7" name="标题"/>
          <p:cNvSpPr txBox="1">
            <a:spLocks noGrp="1"/>
          </p:cNvSpPr>
          <p:nvPr>
            <p:ph type="title" idx="2"/>
            <p:custDataLst>
              <p:tags r:id="rId3"/>
            </p:custDataLst>
          </p:nvPr>
        </p:nvSpPr>
        <p:spPr>
          <a:xfrm>
            <a:off x="611400" y="608400"/>
            <a:ext cx="10969200" cy="705600"/>
          </a:xfrm>
          <a:prstGeom prst="rect">
            <a:avLst/>
          </a:prstGeom>
          <a:noFill/>
          <a:ln>
            <a:noFill/>
            <a:prstDash val="sysDash"/>
          </a:ln>
        </p:spPr>
        <p:txBody>
          <a:bodyPr wrap="square" rtlCol="0">
            <a:normAutofit/>
          </a:bodyPr>
          <a:lstStyle>
            <a:lvl1pPr marL="0" marR="0" algn="l" defTabSz="914400" rtl="0" eaLnBrk="1" fontAlgn="auto" latinLnBrk="0" hangingPunct="1">
              <a:lnSpc>
                <a:spcPct val="100000"/>
              </a:lnSpc>
              <a:buClrTx/>
              <a:buSzTx/>
              <a:buFontTx/>
              <a:buNone/>
              <a:defRPr kumimoji="0" lang="zh-CN" altLang="en-US" sz="3600" b="1" i="0" u="none" strike="noStrike" kern="1200" cap="none" spc="300" normalizeH="0" baseline="0" noProof="1" dirty="0">
                <a:ln>
                  <a:noFill/>
                  <a:prstDash val="sysDot"/>
                </a:ln>
                <a:solidFill>
                  <a:schemeClr val="accent1"/>
                </a:solidFill>
                <a:latin typeface="+mj-ea"/>
                <a:ea typeface="+mj-ea"/>
                <a:cs typeface="+mj-lt"/>
              </a:defRPr>
            </a:lvl1pPr>
          </a:lstStyle>
          <a:p>
            <a:pPr lvl="0"/>
            <a:r>
              <a:rPr dirty="0">
                <a:sym typeface="+mn-ea"/>
              </a:rPr>
              <a:t>单击此处编辑母版标题样式</a:t>
            </a:r>
            <a:endParaRPr dirty="0">
              <a:sym typeface="+mn-ea"/>
            </a:endParaRPr>
          </a:p>
        </p:txBody>
      </p:sp>
      <p:sp>
        <p:nvSpPr>
          <p:cNvPr id="4" name="日期占位符 3"/>
          <p:cNvSpPr>
            <a:spLocks noGrp="1"/>
          </p:cNvSpPr>
          <p:nvPr>
            <p:ph type="dt" sz="half" idx="10"/>
            <p:custDataLst>
              <p:tags r:id="rId4"/>
            </p:custDataLst>
          </p:nvPr>
        </p:nvSpPr>
        <p:spPr>
          <a:xfrm>
            <a:off x="838200" y="6356350"/>
            <a:ext cx="2743200" cy="365125"/>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custDataLst>
              <p:tags r:id="rId6"/>
            </p:custDataLst>
          </p:nvPr>
        </p:nvSpPr>
        <p:spPr>
          <a:xfrm>
            <a:off x="8610600" y="6356350"/>
            <a:ext cx="2743200" cy="365125"/>
          </a:xfrm>
        </p:spPr>
        <p:txBody>
          <a:bodyPr/>
          <a:lstStyle/>
          <a:p>
            <a:fld id="{49AE70B2-8BF9-45C0-BB95-33D1B9D3A854}" type="slidenum">
              <a:rPr lang="zh-CN" altLang="en-US" smtClean="0"/>
            </a:fld>
            <a:endParaRPr lang="zh-CN" altLang="en-US"/>
          </a:p>
        </p:txBody>
      </p:sp>
    </p:spTree>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12F0EEC-59C0-41B1-B95D-89E76C8A7342}" type="datetime1">
              <a:rPr lang="en-US" smtClean="0"/>
            </a:fld>
            <a:endParaRPr lang="en-US"/>
          </a:p>
        </p:txBody>
      </p:sp>
      <p:sp>
        <p:nvSpPr>
          <p:cNvPr id="3" name="页脚占位符 2"/>
          <p:cNvSpPr>
            <a:spLocks noGrp="1"/>
          </p:cNvSpPr>
          <p:nvPr>
            <p:ph type="ftr" sz="quarter" idx="11"/>
          </p:nvPr>
        </p:nvSpPr>
        <p:spPr/>
        <p:txBody>
          <a:bodyPr/>
          <a:lstStyle/>
          <a:p/>
        </p:txBody>
      </p:sp>
      <p:sp>
        <p:nvSpPr>
          <p:cNvPr id="4" name="灯片编号占位符 3"/>
          <p:cNvSpPr>
            <a:spLocks noGrp="1"/>
          </p:cNvSpPr>
          <p:nvPr>
            <p:ph type="sldNum" sz="quarter" idx="12"/>
          </p:nvPr>
        </p:nvSpPr>
        <p:spPr/>
        <p:txBody>
          <a:bodyPr/>
          <a:lstStyle/>
          <a:p>
            <a:pPr marL="25400">
              <a:lnSpc>
                <a:spcPts val="1240"/>
              </a:lnSpc>
            </a:pPr>
            <a:fld id="{81D60167-4931-47E6-BA6A-407CBD079E47}" type="slidenum">
              <a:rPr dirty="0"/>
            </a:fld>
            <a:endParaRP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a:t>Click to edit Master title style</a:t>
            </a:r>
            <a:endParaRPr lang="en-US" noProof="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a:t>Click to edit Master title style</a:t>
            </a:r>
            <a:endParaRPr lang="en-US" noProof="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617833" y="1257300"/>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2" name="Title 1"/>
          <p:cNvSpPr>
            <a:spLocks noGrp="1"/>
          </p:cNvSpPr>
          <p:nvPr>
            <p:ph type="title"/>
          </p:nvPr>
        </p:nvSpPr>
        <p:spPr>
          <a:xfrm>
            <a:off x="617833" y="527293"/>
            <a:ext cx="5189078" cy="498435"/>
          </a:xfrm>
          <a:noFill/>
        </p:spPr>
        <p:txBody>
          <a:bodyPr anchor="ctr">
            <a:normAutofit/>
          </a:bodyPr>
          <a:lstStyle>
            <a:lvl1pPr>
              <a:defRPr sz="2400">
                <a:solidFill>
                  <a:srgbClr val="C30F1E"/>
                </a:solidFill>
              </a:defRPr>
            </a:lvl1pPr>
          </a:lstStyle>
          <a:p>
            <a:r>
              <a:rPr lang="en-US" dirty="0"/>
              <a:t>Click to edit Master title style</a:t>
            </a:r>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目录">
    <p:spTree>
      <p:nvGrpSpPr>
        <p:cNvPr id="1" name=""/>
        <p:cNvGrpSpPr/>
        <p:nvPr/>
      </p:nvGrpSpPr>
      <p:grpSpPr>
        <a:xfrm>
          <a:off x="0" y="0"/>
          <a:ext cx="0" cy="0"/>
          <a:chOff x="0" y="0"/>
          <a:chExt cx="0" cy="0"/>
        </a:xfrm>
      </p:grpSpPr>
      <p:sp>
        <p:nvSpPr>
          <p:cNvPr id="7" name="标题"/>
          <p:cNvSpPr txBox="1">
            <a:spLocks noGrp="1"/>
          </p:cNvSpPr>
          <p:nvPr>
            <p:ph type="title" idx="2" hasCustomPrompt="1"/>
            <p:custDataLst>
              <p:tags r:id="rId2"/>
            </p:custDataLst>
          </p:nvPr>
        </p:nvSpPr>
        <p:spPr>
          <a:xfrm>
            <a:off x="4288157" y="2769870"/>
            <a:ext cx="3615688" cy="1089660"/>
          </a:xfrm>
          <a:prstGeom prst="rect">
            <a:avLst/>
          </a:prstGeom>
          <a:noFill/>
        </p:spPr>
        <p:txBody>
          <a:bodyPr vert="horz" wrap="square" lIns="91440" tIns="45720" rIns="91440" bIns="45720" rtlCol="0" anchor="b" anchorCtr="0">
            <a:normAutofit/>
          </a:bodyPr>
          <a:lstStyle>
            <a:lvl1pPr marL="0" marR="0" lvl="0" algn="ctr" defTabSz="914400" rtl="0" eaLnBrk="1" fontAlgn="auto" latinLnBrk="0" hangingPunct="1">
              <a:lnSpc>
                <a:spcPct val="110000"/>
              </a:lnSpc>
              <a:buClrTx/>
              <a:buSzTx/>
              <a:buFontTx/>
              <a:buNone/>
              <a:defRPr kumimoji="0" lang="zh-CN" altLang="en-US" sz="6000" b="0" i="0" u="none" strike="noStrike" kern="1200" cap="none" spc="0" normalizeH="0" baseline="0" noProof="1" dirty="0">
                <a:solidFill>
                  <a:schemeClr val="tx1"/>
                </a:solidFill>
                <a:latin typeface="+mj-ea"/>
                <a:ea typeface="+mj-ea"/>
                <a:cs typeface="微软雅黑" panose="020B0503020204020204" charset="-122"/>
                <a:sym typeface="+mn-ea"/>
              </a:defRPr>
            </a:lvl1pPr>
          </a:lstStyle>
          <a:p>
            <a:pPr lvl="0" algn="ctr">
              <a:lnSpc>
                <a:spcPct val="110000"/>
              </a:lnSpc>
              <a:buClrTx/>
              <a:buSzTx/>
              <a:buFontTx/>
            </a:pPr>
            <a:r>
              <a:rPr dirty="0">
                <a:sym typeface="+mn-ea"/>
              </a:rPr>
              <a:t>编辑标题</a:t>
            </a:r>
            <a:endParaRPr dirty="0">
              <a:sym typeface="+mn-ea"/>
            </a:endParaRPr>
          </a:p>
        </p:txBody>
      </p:sp>
      <p:sp>
        <p:nvSpPr>
          <p:cNvPr id="3" name="日期占位符 2"/>
          <p:cNvSpPr>
            <a:spLocks noGrp="1"/>
          </p:cNvSpPr>
          <p:nvPr>
            <p:ph type="dt" sz="half" idx="10"/>
            <p:custDataLst>
              <p:tags r:id="rId3"/>
            </p:custDataLst>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p:spPr>
        <p:txBody>
          <a:bodyPr/>
          <a:lstStyle/>
          <a:p>
            <a:fld id="{565CE74E-AB26-4998-AD42-012C4C1AD076}" type="slidenum">
              <a:rPr lang="zh-CN" altLang="en-US" smtClean="0"/>
            </a:fld>
            <a:endParaRPr lang="zh-CN" altLang="en-US"/>
          </a:p>
        </p:txBody>
      </p:sp>
      <p:sp>
        <p:nvSpPr>
          <p:cNvPr id="2" name="圆: 空心 1"/>
          <p:cNvSpPr/>
          <p:nvPr>
            <p:custDataLst>
              <p:tags r:id="rId6"/>
            </p:custDataLst>
          </p:nvPr>
        </p:nvSpPr>
        <p:spPr>
          <a:xfrm>
            <a:off x="3363180" y="783273"/>
            <a:ext cx="5392615" cy="5392615"/>
          </a:xfrm>
          <a:prstGeom prst="donut">
            <a:avLst>
              <a:gd name="adj" fmla="val 19617"/>
            </a:avLst>
          </a:prstGeom>
          <a:gradFill flip="none" rotWithShape="1">
            <a:gsLst>
              <a:gs pos="27000">
                <a:schemeClr val="bg1">
                  <a:alpha val="0"/>
                </a:schemeClr>
              </a:gs>
              <a:gs pos="100000">
                <a:schemeClr val="accent1"/>
              </a:gs>
            </a:gsLst>
            <a:lin ang="16200000" scaled="1"/>
            <a:tileRect/>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微软雅黑" panose="020B0503020204020204" charset="-122"/>
            </a:endParaRPr>
          </a:p>
        </p:txBody>
      </p:sp>
    </p:spTree>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126603"/>
            <a:ext cx="12192001" cy="2731397"/>
          </a:xfrm>
          <a:prstGeom prst="rect">
            <a:avLst/>
          </a:prstGeom>
        </p:spPr>
      </p:pic>
      <p:sp>
        <p:nvSpPr>
          <p:cNvPr id="10" name="Title Placeholder 2"/>
          <p:cNvSpPr>
            <a:spLocks noGrp="1" noChangeArrowheads="1"/>
          </p:cNvSpPr>
          <p:nvPr>
            <p:ph type="title"/>
          </p:nvPr>
        </p:nvSpPr>
        <p:spPr bwMode="gray">
          <a:xfrm>
            <a:off x="1177473" y="2120597"/>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2" y="548680"/>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3"/>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5"/>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3"/>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showMasterSp="0">
  <p:cSld name="节标题">
    <p:spTree>
      <p:nvGrpSpPr>
        <p:cNvPr id="1" name=""/>
        <p:cNvGrpSpPr/>
        <p:nvPr/>
      </p:nvGrpSpPr>
      <p:grpSpPr>
        <a:xfrm>
          <a:off x="0" y="0"/>
          <a:ext cx="0" cy="0"/>
          <a:chOff x="0" y="0"/>
          <a:chExt cx="0" cy="0"/>
        </a:xfrm>
      </p:grpSpPr>
      <p:pic>
        <p:nvPicPr>
          <p:cNvPr id="9" name="图片 8" descr="门旁边的墙上&#10;&#10;描述已自动生成"/>
          <p:cNvPicPr>
            <a:picLocks noChangeAspect="1"/>
          </p:cNvPicPr>
          <p:nvPr>
            <p:custDataLst>
              <p:tags r:id="rId2"/>
            </p:custDataLst>
          </p:nvPr>
        </p:nvPicPr>
        <p:blipFill>
          <a:blip r:embed="rId3">
            <a:alphaModFix amt="15000"/>
            <a:duotone>
              <a:schemeClr val="accent2">
                <a:shade val="45000"/>
                <a:satMod val="135000"/>
              </a:schemeClr>
              <a:prstClr val="white"/>
            </a:duotone>
          </a:blip>
          <a:srcRect/>
          <a:stretch>
            <a:fillRect/>
          </a:stretch>
        </p:blipFill>
        <p:spPr>
          <a:xfrm flipH="1">
            <a:off x="1" y="0"/>
            <a:ext cx="12191998" cy="6858000"/>
          </a:xfrm>
          <a:prstGeom prst="rect">
            <a:avLst/>
          </a:prstGeom>
        </p:spPr>
      </p:pic>
      <p:sp>
        <p:nvSpPr>
          <p:cNvPr id="30" name="圆: 空心 29"/>
          <p:cNvSpPr/>
          <p:nvPr>
            <p:custDataLst>
              <p:tags r:id="rId4"/>
            </p:custDataLst>
          </p:nvPr>
        </p:nvSpPr>
        <p:spPr>
          <a:xfrm>
            <a:off x="937847" y="1174285"/>
            <a:ext cx="2814149" cy="2814149"/>
          </a:xfrm>
          <a:prstGeom prst="donut">
            <a:avLst>
              <a:gd name="adj" fmla="val 22664"/>
            </a:avLst>
          </a:prstGeom>
          <a:gradFill flip="none" rotWithShape="1">
            <a:gsLst>
              <a:gs pos="33000">
                <a:srgbClr val="ECECF0">
                  <a:alpha val="0"/>
                </a:srgbClr>
              </a:gs>
              <a:gs pos="91000">
                <a:schemeClr val="accent1"/>
              </a:gs>
            </a:gsLst>
            <a:path path="circle">
              <a:fillToRect l="100000" t="100000"/>
            </a:path>
            <a:tileRect r="-100000" b="-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微软雅黑" panose="020B0503020204020204" charset="-122"/>
            </a:endParaRPr>
          </a:p>
        </p:txBody>
      </p:sp>
      <p:sp>
        <p:nvSpPr>
          <p:cNvPr id="8" name="标题"/>
          <p:cNvSpPr txBox="1">
            <a:spLocks noGrp="1"/>
          </p:cNvSpPr>
          <p:nvPr>
            <p:ph type="title" idx="2" hasCustomPrompt="1"/>
            <p:custDataLst>
              <p:tags r:id="rId5"/>
            </p:custDataLst>
          </p:nvPr>
        </p:nvSpPr>
        <p:spPr>
          <a:xfrm>
            <a:off x="2309495" y="2964180"/>
            <a:ext cx="6913245" cy="2065020"/>
          </a:xfrm>
          <a:prstGeom prst="rect">
            <a:avLst/>
          </a:prstGeom>
          <a:noFill/>
        </p:spPr>
        <p:txBody>
          <a:bodyPr vert="horz" wrap="square" lIns="91440" tIns="45720" rIns="91440" bIns="45720" rtlCol="0" anchor="t">
            <a:normAutofit/>
          </a:bodyPr>
          <a:lstStyle>
            <a:lvl1pPr marL="0" marR="0" lvl="0" algn="l" defTabSz="914400" rtl="0" eaLnBrk="1" fontAlgn="auto" latinLnBrk="0" hangingPunct="1">
              <a:lnSpc>
                <a:spcPct val="110000"/>
              </a:lnSpc>
              <a:buClrTx/>
              <a:buSzTx/>
              <a:buFontTx/>
              <a:buNone/>
              <a:defRPr kumimoji="0" lang="zh-CN" altLang="en-US" sz="6000" b="0" i="0" u="none" strike="noStrike" kern="1200" cap="none" spc="0" normalizeH="0" baseline="0" noProof="1" dirty="0">
                <a:solidFill>
                  <a:schemeClr val="tx1"/>
                </a:solidFill>
                <a:latin typeface="+mj-ea"/>
                <a:ea typeface="+mj-ea"/>
                <a:cs typeface="微软雅黑" panose="020B0503020204020204" charset="-122"/>
                <a:sym typeface="+mn-ea"/>
              </a:defRPr>
            </a:lvl1pPr>
          </a:lstStyle>
          <a:p>
            <a:pPr lvl="0" algn="l">
              <a:lnSpc>
                <a:spcPct val="110000"/>
              </a:lnSpc>
              <a:buClrTx/>
              <a:buSzTx/>
              <a:buFontTx/>
            </a:pPr>
            <a:r>
              <a:rPr>
                <a:sym typeface="+mn-ea"/>
              </a:rPr>
              <a:t>单击此处编辑标题</a:t>
            </a:r>
            <a:endParaRPr>
              <a:sym typeface="+mn-ea"/>
            </a:endParaRPr>
          </a:p>
        </p:txBody>
      </p:sp>
      <p:sp>
        <p:nvSpPr>
          <p:cNvPr id="7" name="节编号"/>
          <p:cNvSpPr txBox="1">
            <a:spLocks noGrp="1"/>
          </p:cNvSpPr>
          <p:nvPr>
            <p:ph type="body" idx="1" hasCustomPrompt="1"/>
            <p:custDataLst>
              <p:tags r:id="rId6"/>
            </p:custDataLst>
          </p:nvPr>
        </p:nvSpPr>
        <p:spPr>
          <a:xfrm>
            <a:off x="2309494" y="2244090"/>
            <a:ext cx="6913245" cy="847725"/>
          </a:xfrm>
          <a:prstGeom prst="rect">
            <a:avLst/>
          </a:prstGeom>
          <a:noFill/>
        </p:spPr>
        <p:txBody>
          <a:bodyPr vert="horz" wrap="square" lIns="91440" tIns="45720" rIns="91440" bIns="45720" rtlCol="0" anchor="b" anchorCtr="0">
            <a:normAutofit/>
          </a:bodyPr>
          <a:lstStyle>
            <a:lvl1pPr marL="0" marR="0" lvl="0" algn="l" defTabSz="914400" rtl="0" eaLnBrk="1" fontAlgn="auto" latinLnBrk="0" hangingPunct="1">
              <a:lnSpc>
                <a:spcPct val="100000"/>
              </a:lnSpc>
              <a:buClrTx/>
              <a:buSzTx/>
              <a:buFontTx/>
              <a:buNone/>
              <a:defRPr kumimoji="0" lang="en-US" altLang="zh-CN" sz="4800" b="0" i="0" u="none" strike="noStrike" kern="1200" cap="none" spc="1000" normalizeH="0" baseline="0" noProof="1" dirty="0">
                <a:ln>
                  <a:solidFill>
                    <a:schemeClr val="accent1"/>
                  </a:solidFill>
                </a:ln>
                <a:noFill/>
                <a:latin typeface="+mj-ea"/>
                <a:ea typeface="+mj-ea"/>
                <a:cs typeface="微软雅黑" panose="020B0503020204020204" charset="-122"/>
                <a:sym typeface="+mn-ea"/>
              </a:defRPr>
            </a:lvl1pPr>
          </a:lstStyle>
          <a:p>
            <a:pPr lvl="0">
              <a:buClrTx/>
              <a:buSzTx/>
              <a:buFontTx/>
            </a:pPr>
            <a:r>
              <a:rPr dirty="0" err="1">
                <a:sym typeface="+mn-ea"/>
              </a:rPr>
              <a:t>编辑节编号</a:t>
            </a:r>
            <a:endParaRPr dirty="0">
              <a:sym typeface="+mn-ea"/>
            </a:endParaRPr>
          </a:p>
        </p:txBody>
      </p:sp>
      <p:sp>
        <p:nvSpPr>
          <p:cNvPr id="4" name="日期占位符 3"/>
          <p:cNvSpPr>
            <a:spLocks noGrp="1"/>
          </p:cNvSpPr>
          <p:nvPr>
            <p:ph type="dt" sz="half" idx="10"/>
            <p:custDataLst>
              <p:tags r:id="rId7"/>
            </p:custDataLst>
          </p:nvPr>
        </p:nvSpPr>
        <p:spPr>
          <a:xfrm>
            <a:off x="838200" y="6356350"/>
            <a:ext cx="2743200" cy="365125"/>
          </a:xfrm>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8"/>
            </p:custDataLst>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custDataLst>
              <p:tags r:id="rId9"/>
            </p:custDataLst>
          </p:nvPr>
        </p:nvSpPr>
        <p:spPr>
          <a:xfrm>
            <a:off x="8610600" y="6356350"/>
            <a:ext cx="2743200" cy="365125"/>
          </a:xfrm>
        </p:spPr>
        <p:txBody>
          <a:bodyPr/>
          <a:lstStyle/>
          <a:p>
            <a:fld id="{49AE70B2-8BF9-45C0-BB95-33D1B9D3A854}" type="slidenum">
              <a:rPr lang="zh-CN" altLang="en-US" smtClean="0"/>
            </a:fld>
            <a:endParaRPr lang="zh-CN" altLang="en-US"/>
          </a:p>
        </p:txBody>
      </p:sp>
    </p:spTree>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1"/>
            <a:ext cx="1880564" cy="622211"/>
          </a:xfrm>
          <a:prstGeom prst="rect">
            <a:avLst/>
          </a:prstGeom>
        </p:spPr>
      </p:pic>
      <p:sp>
        <p:nvSpPr>
          <p:cNvPr id="17" name="Rectangle 16"/>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126603"/>
            <a:ext cx="12192001" cy="2731397"/>
          </a:xfrm>
          <a:prstGeom prst="rect">
            <a:avLst/>
          </a:prstGeom>
        </p:spPr>
      </p:pic>
      <p:sp>
        <p:nvSpPr>
          <p:cNvPr id="10" name="Title Placeholder 2"/>
          <p:cNvSpPr>
            <a:spLocks noGrp="1" noChangeArrowheads="1"/>
          </p:cNvSpPr>
          <p:nvPr>
            <p:ph type="title"/>
          </p:nvPr>
        </p:nvSpPr>
        <p:spPr bwMode="gray">
          <a:xfrm>
            <a:off x="1177473" y="2120598"/>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3" y="548681"/>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7833" y="1608513"/>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5951833" y="1606463"/>
            <a:ext cx="5181600" cy="1258143"/>
          </a:xfrm>
        </p:spPr>
        <p:txBody>
          <a:bodyPr/>
          <a:lstStyle>
            <a:lvl1pPr marL="342900" indent="-342900">
              <a:buClr>
                <a:srgbClr val="C30F1E"/>
              </a:buClr>
              <a:buFont typeface="Arial" panose="020B0604020202020204" pitchFamily="34" charset="0"/>
              <a:buChar char="•"/>
              <a:defRPr sz="1600"/>
            </a:lvl1pPr>
            <a:lvl2pPr marL="800100" indent="-342900">
              <a:buClr>
                <a:srgbClr val="C30F1E"/>
              </a:buClr>
              <a:buFont typeface="Arial" panose="020B0604020202020204" pitchFamily="34" charset="0"/>
              <a:buChar char="•"/>
              <a:defRPr/>
            </a:lvl2pPr>
            <a:lvl3pPr marL="1200150" indent="-285750">
              <a:buClr>
                <a:srgbClr val="C30F1E"/>
              </a:buClr>
              <a:buFont typeface="Arial" panose="020B0604020202020204" pitchFamily="34" charset="0"/>
              <a:buChar char="•"/>
              <a:defRPr/>
            </a:lvl3pPr>
            <a:lvl4pPr marL="1657350" indent="-285750">
              <a:buClr>
                <a:srgbClr val="C30F1E"/>
              </a:buClr>
              <a:buFont typeface="Arial" panose="020B0604020202020204" pitchFamily="34" charset="0"/>
              <a:buChar char="•"/>
              <a:defRPr/>
            </a:lvl4pPr>
            <a:lvl5pPr marL="2114550" indent="-285750">
              <a:buClr>
                <a:srgbClr val="C30F1E"/>
              </a:buClr>
              <a:buFont typeface="Arial" panose="020B0604020202020204" pitchFamily="34" charset="0"/>
              <a:buChar cha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9" name="Slide Number Placeholder 5"/>
          <p:cNvSpPr>
            <a:spLocks noGrp="1"/>
          </p:cNvSpPr>
          <p:nvPr>
            <p:ph type="sldNum" sz="quarter" idx="12"/>
          </p:nvPr>
        </p:nvSpPr>
        <p:spPr>
          <a:xfrm>
            <a:off x="11333313" y="6356354"/>
            <a:ext cx="457987" cy="230843"/>
          </a:xfrm>
        </p:spPr>
        <p:txBody>
          <a:bodyPr/>
          <a:lstStyle>
            <a:lvl1pPr>
              <a:defRPr>
                <a:ea typeface="微软雅黑" panose="020B0503020204020204" charset="-122"/>
                <a:cs typeface="微软雅黑" panose="020B0503020204020204" charset="-122"/>
              </a:defRPr>
            </a:lvl1pPr>
          </a:lstStyle>
          <a:p>
            <a:fld id="{5F68880D-600E-4861-B622-442275FD0F25}" type="slidenum">
              <a:rPr lang="en-US" smtClean="0"/>
            </a:fld>
            <a:endParaRPr lang="en-US"/>
          </a:p>
        </p:txBody>
      </p:sp>
      <p:sp>
        <p:nvSpPr>
          <p:cNvPr id="10" name="Title 1"/>
          <p:cNvSpPr>
            <a:spLocks noGrp="1"/>
          </p:cNvSpPr>
          <p:nvPr>
            <p:ph type="title"/>
          </p:nvPr>
        </p:nvSpPr>
        <p:spPr>
          <a:xfrm>
            <a:off x="617837" y="527294"/>
            <a:ext cx="5189079" cy="498435"/>
          </a:xfrm>
          <a:noFill/>
        </p:spPr>
        <p:txBody>
          <a:bodyPr anchor="ctr">
            <a:normAutofit/>
          </a:bodyPr>
          <a:lstStyle>
            <a:lvl1pPr>
              <a:defRPr sz="2400">
                <a:solidFill>
                  <a:srgbClr val="0000FF"/>
                </a:solidFill>
              </a:defRPr>
            </a:lvl1pPr>
          </a:lstStyle>
          <a:p>
            <a:r>
              <a:rPr lang="en-US" dirty="0"/>
              <a:t>Click to edit Master title style</a:t>
            </a:r>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4833" y="1864514"/>
            <a:ext cx="4871677" cy="4035544"/>
          </a:xfrm>
        </p:spPr>
        <p:txBody>
          <a:bodyPr anchor="t">
            <a:normAutofit/>
          </a:bodyPr>
          <a:lstStyle>
            <a:lvl1pPr algn="l">
              <a:defRPr sz="4400" i="1">
                <a:solidFill>
                  <a:schemeClr val="bg1"/>
                </a:solidFill>
              </a:defRPr>
            </a:lvl1pPr>
          </a:lstStyle>
          <a:p>
            <a:r>
              <a:rPr lang="en-US"/>
              <a:t>Click to edit Master title style</a:t>
            </a:r>
            <a:endParaRPr lang="en-US"/>
          </a:p>
        </p:txBody>
      </p:sp>
      <p:sp>
        <p:nvSpPr>
          <p:cNvPr id="3" name="Subtitle 2"/>
          <p:cNvSpPr>
            <a:spLocks noGrp="1"/>
          </p:cNvSpPr>
          <p:nvPr>
            <p:ph type="subTitle" idx="1"/>
          </p:nvPr>
        </p:nvSpPr>
        <p:spPr>
          <a:xfrm>
            <a:off x="7086603" y="4517649"/>
            <a:ext cx="4849907" cy="403208"/>
          </a:xfrm>
        </p:spPr>
        <p:txBody>
          <a:bodyPr/>
          <a:lstStyle>
            <a:lvl1pPr marL="0" indent="0" algn="l">
              <a:buNone/>
              <a:defRPr sz="2400">
                <a:solidFill>
                  <a:schemeClr val="bg1"/>
                </a:solidFill>
              </a:defRPr>
            </a:lvl1pPr>
            <a:lvl2pPr marL="456565" indent="0" algn="ctr">
              <a:buNone/>
              <a:defRPr sz="2000"/>
            </a:lvl2pPr>
            <a:lvl3pPr marL="913765" indent="0" algn="ctr">
              <a:buNone/>
              <a:defRPr sz="1900"/>
            </a:lvl3pPr>
            <a:lvl4pPr marL="1370330" indent="0" algn="ctr">
              <a:buNone/>
              <a:defRPr sz="1600"/>
            </a:lvl4pPr>
            <a:lvl5pPr marL="1827530" indent="0" algn="ctr">
              <a:buNone/>
              <a:defRPr sz="1600"/>
            </a:lvl5pPr>
            <a:lvl6pPr marL="2284730" indent="0" algn="ctr">
              <a:buNone/>
              <a:defRPr sz="1600"/>
            </a:lvl6pPr>
            <a:lvl7pPr marL="2741930" indent="0" algn="ctr">
              <a:buNone/>
              <a:defRPr sz="1600"/>
            </a:lvl7pPr>
            <a:lvl8pPr marL="3198495" indent="0" algn="ctr">
              <a:buNone/>
              <a:defRPr sz="1600"/>
            </a:lvl8pPr>
            <a:lvl9pPr marL="3655695" indent="0" algn="ctr">
              <a:buNone/>
              <a:defRPr sz="1600"/>
            </a:lvl9pPr>
          </a:lstStyle>
          <a:p>
            <a:r>
              <a:rPr lang="en-US"/>
              <a:t>Click to edit Master subtitle style</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17911"/>
            <a:ext cx="11273282" cy="449263"/>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endParaRPr lang="en-US" dirty="0"/>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617833" y="1257300"/>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2" name="Title 1"/>
          <p:cNvSpPr>
            <a:spLocks noGrp="1"/>
          </p:cNvSpPr>
          <p:nvPr>
            <p:ph type="title"/>
          </p:nvPr>
        </p:nvSpPr>
        <p:spPr>
          <a:xfrm>
            <a:off x="617833" y="527293"/>
            <a:ext cx="5189078" cy="498435"/>
          </a:xfrm>
          <a:noFill/>
        </p:spPr>
        <p:txBody>
          <a:bodyPr anchor="ctr">
            <a:normAutofit/>
          </a:bodyPr>
          <a:lstStyle>
            <a:lvl1pPr>
              <a:defRPr sz="2400">
                <a:solidFill>
                  <a:srgbClr val="C30F1E"/>
                </a:solidFill>
              </a:defRPr>
            </a:lvl1pPr>
          </a:lstStyle>
          <a:p>
            <a:r>
              <a:rPr lang="en-US" dirty="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标题和两栏">
    <p:spTree>
      <p:nvGrpSpPr>
        <p:cNvPr id="1" name=""/>
        <p:cNvGrpSpPr/>
        <p:nvPr/>
      </p:nvGrpSpPr>
      <p:grpSpPr>
        <a:xfrm>
          <a:off x="0" y="0"/>
          <a:ext cx="0" cy="0"/>
          <a:chOff x="0" y="0"/>
          <a:chExt cx="0" cy="0"/>
        </a:xfrm>
      </p:grpSpPr>
      <p:sp>
        <p:nvSpPr>
          <p:cNvPr id="10" name="正文"/>
          <p:cNvSpPr txBox="1">
            <a:spLocks noGrp="1"/>
          </p:cNvSpPr>
          <p:nvPr>
            <p:ph idx="4"/>
            <p:custDataLst>
              <p:tags r:id="rId2"/>
            </p:custDataLst>
          </p:nvPr>
        </p:nvSpPr>
        <p:spPr>
          <a:xfrm>
            <a:off x="6400805" y="1490357"/>
            <a:ext cx="5176800" cy="4759236"/>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ClrTx/>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微软雅黑" panose="020B0503020204020204" charset="-122"/>
                <a:ea typeface="微软雅黑" panose="020B0503020204020204" charset="-122"/>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ea"/>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ea"/>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ea"/>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ea"/>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dirty="0">
                <a:sym typeface="+mn-ea"/>
              </a:rPr>
              <a:t>单击此处编辑母版文本样式</a:t>
            </a:r>
            <a:endParaRPr dirty="0">
              <a:sym typeface="+mn-ea"/>
            </a:endParaRPr>
          </a:p>
          <a:p>
            <a:pPr lvl="1"/>
            <a:r>
              <a:rPr dirty="0" err="1">
                <a:sym typeface="+mn-ea"/>
              </a:rPr>
              <a:t>第二级</a:t>
            </a:r>
            <a:endParaRPr dirty="0">
              <a:sym typeface="+mn-ea"/>
            </a:endParaRPr>
          </a:p>
          <a:p>
            <a:pPr lvl="2"/>
            <a:r>
              <a:rPr dirty="0" err="1">
                <a:sym typeface="+mn-ea"/>
              </a:rPr>
              <a:t>第三级</a:t>
            </a:r>
            <a:endParaRPr dirty="0">
              <a:sym typeface="+mn-ea"/>
            </a:endParaRPr>
          </a:p>
          <a:p>
            <a:pPr lvl="3"/>
            <a:r>
              <a:rPr dirty="0" err="1">
                <a:sym typeface="+mn-ea"/>
              </a:rPr>
              <a:t>第四级</a:t>
            </a:r>
            <a:endParaRPr dirty="0">
              <a:sym typeface="+mn-ea"/>
            </a:endParaRPr>
          </a:p>
          <a:p>
            <a:pPr lvl="4"/>
            <a:r>
              <a:rPr dirty="0" err="1">
                <a:sym typeface="+mn-ea"/>
              </a:rPr>
              <a:t>第五级</a:t>
            </a:r>
            <a:endParaRPr dirty="0">
              <a:sym typeface="+mn-ea"/>
            </a:endParaRPr>
          </a:p>
        </p:txBody>
      </p:sp>
      <p:sp>
        <p:nvSpPr>
          <p:cNvPr id="9" name="正文"/>
          <p:cNvSpPr txBox="1">
            <a:spLocks noGrp="1"/>
          </p:cNvSpPr>
          <p:nvPr>
            <p:ph idx="3"/>
            <p:custDataLst>
              <p:tags r:id="rId3"/>
            </p:custDataLst>
          </p:nvPr>
        </p:nvSpPr>
        <p:spPr>
          <a:xfrm>
            <a:off x="608400" y="1490357"/>
            <a:ext cx="5176800" cy="4759236"/>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ClrTx/>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微软雅黑" panose="020B0503020204020204" charset="-122"/>
                <a:ea typeface="微软雅黑" panose="020B0503020204020204" charset="-122"/>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ea"/>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ea"/>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ea"/>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ea"/>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dirty="0">
                <a:sym typeface="+mn-ea"/>
              </a:rPr>
              <a:t>单击此处编辑母版文本样式</a:t>
            </a:r>
            <a:endParaRPr dirty="0">
              <a:sym typeface="+mn-ea"/>
            </a:endParaRPr>
          </a:p>
          <a:p>
            <a:pPr lvl="1"/>
            <a:r>
              <a:rPr dirty="0" err="1">
                <a:sym typeface="+mn-ea"/>
              </a:rPr>
              <a:t>第二级</a:t>
            </a:r>
            <a:endParaRPr dirty="0">
              <a:sym typeface="+mn-ea"/>
            </a:endParaRPr>
          </a:p>
          <a:p>
            <a:pPr lvl="2"/>
            <a:r>
              <a:rPr dirty="0" err="1">
                <a:sym typeface="+mn-ea"/>
              </a:rPr>
              <a:t>第三级</a:t>
            </a:r>
            <a:endParaRPr dirty="0">
              <a:sym typeface="+mn-ea"/>
            </a:endParaRPr>
          </a:p>
          <a:p>
            <a:pPr lvl="3"/>
            <a:r>
              <a:rPr dirty="0" err="1">
                <a:sym typeface="+mn-ea"/>
              </a:rPr>
              <a:t>第四级</a:t>
            </a:r>
            <a:endParaRPr dirty="0">
              <a:sym typeface="+mn-ea"/>
            </a:endParaRPr>
          </a:p>
          <a:p>
            <a:pPr lvl="4"/>
            <a:r>
              <a:rPr dirty="0" err="1">
                <a:sym typeface="+mn-ea"/>
              </a:rPr>
              <a:t>第五级</a:t>
            </a:r>
            <a:endParaRPr dirty="0">
              <a:sym typeface="+mn-ea"/>
            </a:endParaRPr>
          </a:p>
        </p:txBody>
      </p:sp>
      <p:sp>
        <p:nvSpPr>
          <p:cNvPr id="8" name="标题"/>
          <p:cNvSpPr txBox="1">
            <a:spLocks noGrp="1"/>
          </p:cNvSpPr>
          <p:nvPr>
            <p:ph type="title" idx="2"/>
            <p:custDataLst>
              <p:tags r:id="rId4"/>
            </p:custDataLst>
          </p:nvPr>
        </p:nvSpPr>
        <p:spPr>
          <a:xfrm>
            <a:off x="611400" y="608400"/>
            <a:ext cx="10969200" cy="705600"/>
          </a:xfrm>
          <a:prstGeom prst="rect">
            <a:avLst/>
          </a:prstGeom>
          <a:noFill/>
          <a:ln>
            <a:noFill/>
            <a:prstDash val="sysDash"/>
          </a:ln>
        </p:spPr>
        <p:txBody>
          <a:bodyPr wrap="square" rtlCol="0">
            <a:normAutofit/>
          </a:bodyPr>
          <a:lstStyle>
            <a:lvl1pPr marL="0" marR="0" algn="l" defTabSz="914400" rtl="0" eaLnBrk="1" fontAlgn="auto" latinLnBrk="0" hangingPunct="1">
              <a:lnSpc>
                <a:spcPct val="100000"/>
              </a:lnSpc>
              <a:buClrTx/>
              <a:buSzTx/>
              <a:buFontTx/>
              <a:buNone/>
              <a:defRPr kumimoji="0" lang="zh-CN" altLang="en-US" sz="3600" b="0" i="0" u="none" strike="noStrike" kern="1200" cap="none" spc="300" normalizeH="0" baseline="0" noProof="1" dirty="0">
                <a:ln>
                  <a:noFill/>
                  <a:prstDash val="sysDot"/>
                </a:ln>
                <a:solidFill>
                  <a:schemeClr val="accent1"/>
                </a:solidFill>
                <a:latin typeface="+mj-ea"/>
                <a:ea typeface="+mj-ea"/>
                <a:cs typeface="+mj-lt"/>
              </a:defRPr>
            </a:lvl1pPr>
          </a:lstStyle>
          <a:p>
            <a:pPr lvl="0"/>
            <a:r>
              <a:rPr dirty="0">
                <a:sym typeface="+mn-ea"/>
              </a:rPr>
              <a:t>单击此处编辑母版标题样式</a:t>
            </a:r>
            <a:endParaRPr dirty="0">
              <a:sym typeface="+mn-ea"/>
            </a:endParaRPr>
          </a:p>
        </p:txBody>
      </p:sp>
      <p:sp>
        <p:nvSpPr>
          <p:cNvPr id="5" name="日期占位符 4"/>
          <p:cNvSpPr>
            <a:spLocks noGrp="1"/>
          </p:cNvSpPr>
          <p:nvPr>
            <p:ph type="dt" sz="half" idx="10"/>
            <p:custDataLst>
              <p:tags r:id="rId5"/>
            </p:custDataLst>
          </p:nvPr>
        </p:nvSpPr>
        <p:spPr>
          <a:xfrm>
            <a:off x="838200" y="6356350"/>
            <a:ext cx="2743200" cy="365125"/>
          </a:xfrm>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a:xfrm>
            <a:off x="4038600" y="6356350"/>
            <a:ext cx="4114800" cy="365125"/>
          </a:xfrm>
        </p:spPr>
        <p:txBody>
          <a:bodyPr/>
          <a:lstStyle/>
          <a:p>
            <a:endParaRPr lang="zh-CN" altLang="en-US"/>
          </a:p>
        </p:txBody>
      </p:sp>
      <p:sp>
        <p:nvSpPr>
          <p:cNvPr id="7" name="灯片编号占位符 6"/>
          <p:cNvSpPr>
            <a:spLocks noGrp="1"/>
          </p:cNvSpPr>
          <p:nvPr>
            <p:ph type="sldNum" sz="quarter" idx="12"/>
            <p:custDataLst>
              <p:tags r:id="rId7"/>
            </p:custDataLst>
          </p:nvPr>
        </p:nvSpPr>
        <p:spPr>
          <a:xfrm>
            <a:off x="8610600" y="6356350"/>
            <a:ext cx="2743200" cy="365125"/>
          </a:xfrm>
        </p:spPr>
        <p:txBody>
          <a:bodyPr/>
          <a:lstStyle/>
          <a:p>
            <a:fld id="{49AE70B2-8BF9-45C0-BB95-33D1B9D3A854}" type="slidenum">
              <a:rPr lang="zh-CN" altLang="en-US" smtClean="0"/>
            </a:fld>
            <a:endParaRPr lang="zh-CN" altLang="en-US"/>
          </a:p>
        </p:txBody>
      </p:sp>
    </p:spTree>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3"/>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5"/>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3"/>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6" name="Holder 6"/>
          <p:cNvSpPr>
            <a:spLocks noGrp="1"/>
          </p:cNvSpPr>
          <p:nvPr>
            <p:ph type="sldNum" sz="quarter" idx="7"/>
          </p:nvPr>
        </p:nvSpPr>
        <p:spPr>
          <a:xfrm>
            <a:off x="11903604" y="6528647"/>
            <a:ext cx="171979" cy="148167"/>
          </a:xfrm>
          <a:prstGeom prst="rect">
            <a:avLst/>
          </a:prstGeom>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1"/>
            <a:ext cx="1880564" cy="622211"/>
          </a:xfrm>
          <a:prstGeom prst="rect">
            <a:avLst/>
          </a:prstGeom>
        </p:spPr>
      </p:pic>
      <p:sp>
        <p:nvSpPr>
          <p:cNvPr id="17" name="Rectangle 16"/>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126603"/>
            <a:ext cx="12192001" cy="2731397"/>
          </a:xfrm>
          <a:prstGeom prst="rect">
            <a:avLst/>
          </a:prstGeom>
        </p:spPr>
      </p:pic>
      <p:sp>
        <p:nvSpPr>
          <p:cNvPr id="10" name="Title Placeholder 2"/>
          <p:cNvSpPr>
            <a:spLocks noGrp="1" noChangeArrowheads="1"/>
          </p:cNvSpPr>
          <p:nvPr>
            <p:ph type="title"/>
          </p:nvPr>
        </p:nvSpPr>
        <p:spPr bwMode="gray">
          <a:xfrm>
            <a:off x="1177473" y="2120598"/>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3" y="548681"/>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7833" y="1608513"/>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5951833" y="1606463"/>
            <a:ext cx="5181600" cy="1258143"/>
          </a:xfrm>
        </p:spPr>
        <p:txBody>
          <a:bodyPr/>
          <a:lstStyle>
            <a:lvl1pPr marL="342900" indent="-342900">
              <a:buClr>
                <a:srgbClr val="C30F1E"/>
              </a:buClr>
              <a:buFont typeface="Arial" panose="020B0604020202020204" pitchFamily="34" charset="0"/>
              <a:buChar char="•"/>
              <a:defRPr sz="1600"/>
            </a:lvl1pPr>
            <a:lvl2pPr marL="800100" indent="-342900">
              <a:buClr>
                <a:srgbClr val="C30F1E"/>
              </a:buClr>
              <a:buFont typeface="Arial" panose="020B0604020202020204" pitchFamily="34" charset="0"/>
              <a:buChar char="•"/>
              <a:defRPr/>
            </a:lvl2pPr>
            <a:lvl3pPr marL="1200150" indent="-285750">
              <a:buClr>
                <a:srgbClr val="C30F1E"/>
              </a:buClr>
              <a:buFont typeface="Arial" panose="020B0604020202020204" pitchFamily="34" charset="0"/>
              <a:buChar char="•"/>
              <a:defRPr/>
            </a:lvl3pPr>
            <a:lvl4pPr marL="1657350" indent="-285750">
              <a:buClr>
                <a:srgbClr val="C30F1E"/>
              </a:buClr>
              <a:buFont typeface="Arial" panose="020B0604020202020204" pitchFamily="34" charset="0"/>
              <a:buChar char="•"/>
              <a:defRPr/>
            </a:lvl4pPr>
            <a:lvl5pPr marL="2114550" indent="-285750">
              <a:buClr>
                <a:srgbClr val="C30F1E"/>
              </a:buClr>
              <a:buFont typeface="Arial" panose="020B0604020202020204" pitchFamily="34" charset="0"/>
              <a:buChar cha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9" name="Slide Number Placeholder 5"/>
          <p:cNvSpPr>
            <a:spLocks noGrp="1"/>
          </p:cNvSpPr>
          <p:nvPr>
            <p:ph type="sldNum" sz="quarter" idx="12"/>
          </p:nvPr>
        </p:nvSpPr>
        <p:spPr>
          <a:xfrm>
            <a:off x="11333313" y="6356354"/>
            <a:ext cx="457987" cy="230843"/>
          </a:xfrm>
        </p:spPr>
        <p:txBody>
          <a:bodyPr/>
          <a:lstStyle>
            <a:lvl1pPr>
              <a:defRPr>
                <a:ea typeface="微软雅黑" panose="020B0503020204020204" charset="-122"/>
                <a:cs typeface="微软雅黑" panose="020B0503020204020204" charset="-122"/>
              </a:defRPr>
            </a:lvl1pPr>
          </a:lstStyle>
          <a:p>
            <a:fld id="{5F68880D-600E-4861-B622-442275FD0F25}" type="slidenum">
              <a:rPr lang="en-US" smtClean="0"/>
            </a:fld>
            <a:endParaRPr lang="en-US"/>
          </a:p>
        </p:txBody>
      </p:sp>
      <p:sp>
        <p:nvSpPr>
          <p:cNvPr id="10" name="Title 1"/>
          <p:cNvSpPr>
            <a:spLocks noGrp="1"/>
          </p:cNvSpPr>
          <p:nvPr>
            <p:ph type="title"/>
          </p:nvPr>
        </p:nvSpPr>
        <p:spPr>
          <a:xfrm>
            <a:off x="617837" y="527294"/>
            <a:ext cx="5189079" cy="498435"/>
          </a:xfrm>
          <a:noFill/>
        </p:spPr>
        <p:txBody>
          <a:bodyPr anchor="ctr">
            <a:normAutofit/>
          </a:bodyPr>
          <a:lstStyle>
            <a:lvl1pPr>
              <a:defRPr sz="2400">
                <a:solidFill>
                  <a:srgbClr val="0000FF"/>
                </a:solidFill>
              </a:defRPr>
            </a:lvl1pPr>
          </a:lstStyle>
          <a:p>
            <a:r>
              <a:rPr lang="en-US" dirty="0"/>
              <a:t>Click to edit Master title style</a:t>
            </a:r>
            <a:endParaRPr 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4833" y="1864514"/>
            <a:ext cx="4871677" cy="4035544"/>
          </a:xfrm>
        </p:spPr>
        <p:txBody>
          <a:bodyPr anchor="t">
            <a:normAutofit/>
          </a:bodyPr>
          <a:lstStyle>
            <a:lvl1pPr algn="l">
              <a:defRPr sz="4400" i="1">
                <a:solidFill>
                  <a:schemeClr val="bg1"/>
                </a:solidFill>
              </a:defRPr>
            </a:lvl1pPr>
          </a:lstStyle>
          <a:p>
            <a:r>
              <a:rPr lang="en-US"/>
              <a:t>Click to edit Master title style</a:t>
            </a:r>
            <a:endParaRPr lang="en-US"/>
          </a:p>
        </p:txBody>
      </p:sp>
      <p:sp>
        <p:nvSpPr>
          <p:cNvPr id="3" name="Subtitle 2"/>
          <p:cNvSpPr>
            <a:spLocks noGrp="1"/>
          </p:cNvSpPr>
          <p:nvPr>
            <p:ph type="subTitle" idx="1"/>
          </p:nvPr>
        </p:nvSpPr>
        <p:spPr>
          <a:xfrm>
            <a:off x="7086603" y="4517649"/>
            <a:ext cx="4849907" cy="403208"/>
          </a:xfrm>
        </p:spPr>
        <p:txBody>
          <a:bodyPr/>
          <a:lstStyle>
            <a:lvl1pPr marL="0" indent="0" algn="l">
              <a:buNone/>
              <a:defRPr sz="2400">
                <a:solidFill>
                  <a:schemeClr val="bg1"/>
                </a:solidFill>
              </a:defRPr>
            </a:lvl1pPr>
            <a:lvl2pPr marL="456565" indent="0" algn="ctr">
              <a:buNone/>
              <a:defRPr sz="2000"/>
            </a:lvl2pPr>
            <a:lvl3pPr marL="913765" indent="0" algn="ctr">
              <a:buNone/>
              <a:defRPr sz="1900"/>
            </a:lvl3pPr>
            <a:lvl4pPr marL="1370330" indent="0" algn="ctr">
              <a:buNone/>
              <a:defRPr sz="1600"/>
            </a:lvl4pPr>
            <a:lvl5pPr marL="1827530" indent="0" algn="ctr">
              <a:buNone/>
              <a:defRPr sz="1600"/>
            </a:lvl5pPr>
            <a:lvl6pPr marL="2284730" indent="0" algn="ctr">
              <a:buNone/>
              <a:defRPr sz="1600"/>
            </a:lvl6pPr>
            <a:lvl7pPr marL="2741930" indent="0" algn="ctr">
              <a:buNone/>
              <a:defRPr sz="1600"/>
            </a:lvl7pPr>
            <a:lvl8pPr marL="3198495" indent="0" algn="ctr">
              <a:buNone/>
              <a:defRPr sz="1600"/>
            </a:lvl8pPr>
            <a:lvl9pPr marL="3655695" indent="0" algn="ctr">
              <a:buNone/>
              <a:defRPr sz="1600"/>
            </a:lvl9pPr>
          </a:lstStyle>
          <a:p>
            <a:r>
              <a:rPr lang="en-US"/>
              <a:t>Click to edit Master subtitle style</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标题和比较">
    <p:spTree>
      <p:nvGrpSpPr>
        <p:cNvPr id="1" name=""/>
        <p:cNvGrpSpPr/>
        <p:nvPr/>
      </p:nvGrpSpPr>
      <p:grpSpPr>
        <a:xfrm>
          <a:off x="0" y="0"/>
          <a:ext cx="0" cy="0"/>
          <a:chOff x="0" y="0"/>
          <a:chExt cx="0" cy="0"/>
        </a:xfrm>
      </p:grpSpPr>
      <p:sp>
        <p:nvSpPr>
          <p:cNvPr id="15" name="正文"/>
          <p:cNvSpPr txBox="1">
            <a:spLocks noGrp="1"/>
          </p:cNvSpPr>
          <p:nvPr>
            <p:ph idx="6"/>
            <p:custDataLst>
              <p:tags r:id="rId2"/>
            </p:custDataLst>
          </p:nvPr>
        </p:nvSpPr>
        <p:spPr>
          <a:xfrm>
            <a:off x="6235200" y="1854000"/>
            <a:ext cx="5342400" cy="4395600"/>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ClrTx/>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mn-lt"/>
                <a:ea typeface="+mn-ea"/>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lt"/>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lt"/>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lt"/>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lt"/>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dirty="0">
                <a:sym typeface="+mn-ea"/>
              </a:rPr>
              <a:t>单击此处编辑母版文本样式</a:t>
            </a:r>
            <a:endParaRPr dirty="0">
              <a:sym typeface="+mn-ea"/>
            </a:endParaRPr>
          </a:p>
          <a:p>
            <a:pPr lvl="1"/>
            <a:r>
              <a:rPr dirty="0" err="1">
                <a:sym typeface="+mn-ea"/>
              </a:rPr>
              <a:t>第二级</a:t>
            </a:r>
            <a:endParaRPr dirty="0">
              <a:sym typeface="+mn-ea"/>
            </a:endParaRPr>
          </a:p>
          <a:p>
            <a:pPr lvl="2"/>
            <a:r>
              <a:rPr dirty="0" err="1">
                <a:sym typeface="+mn-ea"/>
              </a:rPr>
              <a:t>第三级</a:t>
            </a:r>
            <a:endParaRPr dirty="0">
              <a:sym typeface="+mn-ea"/>
            </a:endParaRPr>
          </a:p>
          <a:p>
            <a:pPr lvl="3"/>
            <a:r>
              <a:rPr dirty="0" err="1">
                <a:sym typeface="+mn-ea"/>
              </a:rPr>
              <a:t>第四级</a:t>
            </a:r>
            <a:endParaRPr dirty="0">
              <a:sym typeface="+mn-ea"/>
            </a:endParaRPr>
          </a:p>
          <a:p>
            <a:pPr lvl="4"/>
            <a:r>
              <a:rPr dirty="0" err="1">
                <a:sym typeface="+mn-ea"/>
              </a:rPr>
              <a:t>第五级</a:t>
            </a:r>
            <a:endParaRPr dirty="0">
              <a:sym typeface="+mn-ea"/>
            </a:endParaRPr>
          </a:p>
        </p:txBody>
      </p:sp>
      <p:sp>
        <p:nvSpPr>
          <p:cNvPr id="14" name="标题"/>
          <p:cNvSpPr txBox="1">
            <a:spLocks noGrp="1"/>
          </p:cNvSpPr>
          <p:nvPr>
            <p:ph type="title" idx="5"/>
            <p:custDataLst>
              <p:tags r:id="rId3"/>
            </p:custDataLst>
          </p:nvPr>
        </p:nvSpPr>
        <p:spPr>
          <a:xfrm>
            <a:off x="6235200" y="1429200"/>
            <a:ext cx="5342400" cy="400110"/>
          </a:xfrm>
          <a:prstGeom prst="rect">
            <a:avLst/>
          </a:prstGeom>
          <a:noFill/>
          <a:ln>
            <a:noFill/>
            <a:prstDash val="sysDash"/>
          </a:ln>
        </p:spPr>
        <p:txBody>
          <a:bodyPr wrap="square" rtlCol="0">
            <a:normAutofit/>
          </a:bodyPr>
          <a:lstStyle>
            <a:lvl1pPr marL="0" marR="0" algn="l" defTabSz="914400" rtl="0" eaLnBrk="1" fontAlgn="auto" latinLnBrk="0" hangingPunct="1">
              <a:lnSpc>
                <a:spcPct val="100000"/>
              </a:lnSpc>
              <a:buClrTx/>
              <a:buSzTx/>
              <a:buFontTx/>
              <a:buNone/>
              <a:defRPr kumimoji="0" lang="zh-CN" altLang="en-US" sz="2000" b="1" i="0" u="none" strike="noStrike" kern="1200" cap="none" spc="0" normalizeH="0" baseline="0" noProof="1" dirty="0">
                <a:solidFill>
                  <a:schemeClr val="accent1"/>
                </a:solidFill>
                <a:latin typeface="+mj-ea"/>
                <a:ea typeface="+mj-ea"/>
                <a:cs typeface="微软雅黑" panose="020B0503020204020204" charset="-122"/>
              </a:defRPr>
            </a:lvl1pPr>
          </a:lstStyle>
          <a:p>
            <a:pPr lvl="0"/>
            <a:r>
              <a:rPr>
                <a:sym typeface="+mn-ea"/>
              </a:rPr>
              <a:t>单击此处编辑母版标题样式</a:t>
            </a:r>
            <a:endParaRPr>
              <a:sym typeface="+mn-ea"/>
            </a:endParaRPr>
          </a:p>
        </p:txBody>
      </p:sp>
      <p:sp>
        <p:nvSpPr>
          <p:cNvPr id="13" name="正文"/>
          <p:cNvSpPr txBox="1">
            <a:spLocks noGrp="1"/>
          </p:cNvSpPr>
          <p:nvPr>
            <p:ph idx="4"/>
            <p:custDataLst>
              <p:tags r:id="rId4"/>
            </p:custDataLst>
          </p:nvPr>
        </p:nvSpPr>
        <p:spPr>
          <a:xfrm>
            <a:off x="608400" y="1854000"/>
            <a:ext cx="5342400" cy="4395600"/>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ClrTx/>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mn-lt"/>
                <a:ea typeface="+mn-ea"/>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lt"/>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lt"/>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lt"/>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lt"/>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dirty="0">
                <a:sym typeface="+mn-ea"/>
              </a:rPr>
              <a:t>单击此处编辑母版文本样式</a:t>
            </a:r>
            <a:endParaRPr dirty="0">
              <a:sym typeface="+mn-ea"/>
            </a:endParaRPr>
          </a:p>
          <a:p>
            <a:pPr lvl="1"/>
            <a:r>
              <a:rPr dirty="0" err="1">
                <a:sym typeface="+mn-ea"/>
              </a:rPr>
              <a:t>第二级</a:t>
            </a:r>
            <a:endParaRPr dirty="0">
              <a:sym typeface="+mn-ea"/>
            </a:endParaRPr>
          </a:p>
          <a:p>
            <a:pPr lvl="2"/>
            <a:r>
              <a:rPr dirty="0" err="1">
                <a:sym typeface="+mn-ea"/>
              </a:rPr>
              <a:t>第三级</a:t>
            </a:r>
            <a:endParaRPr dirty="0">
              <a:sym typeface="+mn-ea"/>
            </a:endParaRPr>
          </a:p>
          <a:p>
            <a:pPr lvl="3"/>
            <a:r>
              <a:rPr dirty="0" err="1">
                <a:sym typeface="+mn-ea"/>
              </a:rPr>
              <a:t>第四级</a:t>
            </a:r>
            <a:endParaRPr dirty="0">
              <a:sym typeface="+mn-ea"/>
            </a:endParaRPr>
          </a:p>
          <a:p>
            <a:pPr lvl="4"/>
            <a:r>
              <a:rPr dirty="0" err="1">
                <a:sym typeface="+mn-ea"/>
              </a:rPr>
              <a:t>第五级</a:t>
            </a:r>
            <a:endParaRPr dirty="0">
              <a:sym typeface="+mn-ea"/>
            </a:endParaRPr>
          </a:p>
        </p:txBody>
      </p:sp>
      <p:sp>
        <p:nvSpPr>
          <p:cNvPr id="12" name="标题"/>
          <p:cNvSpPr txBox="1">
            <a:spLocks noGrp="1"/>
          </p:cNvSpPr>
          <p:nvPr>
            <p:ph type="title" idx="3"/>
            <p:custDataLst>
              <p:tags r:id="rId5"/>
            </p:custDataLst>
          </p:nvPr>
        </p:nvSpPr>
        <p:spPr>
          <a:xfrm>
            <a:off x="608400" y="1429200"/>
            <a:ext cx="5342400" cy="398780"/>
          </a:xfrm>
          <a:prstGeom prst="rect">
            <a:avLst/>
          </a:prstGeom>
          <a:noFill/>
          <a:ln>
            <a:noFill/>
            <a:prstDash val="sysDash"/>
          </a:ln>
        </p:spPr>
        <p:txBody>
          <a:bodyPr wrap="square" rtlCol="0">
            <a:normAutofit/>
          </a:bodyPr>
          <a:lstStyle>
            <a:lvl1pPr marL="0" marR="0" algn="l" defTabSz="914400" rtl="0" eaLnBrk="1" fontAlgn="auto" latinLnBrk="0" hangingPunct="1">
              <a:lnSpc>
                <a:spcPct val="100000"/>
              </a:lnSpc>
              <a:buClrTx/>
              <a:buSzTx/>
              <a:buFontTx/>
              <a:buNone/>
              <a:defRPr kumimoji="0" lang="zh-CN" altLang="en-US" sz="2000" b="1" i="0" u="none" strike="noStrike" kern="1200" cap="none" spc="0" normalizeH="0" baseline="0" noProof="1" dirty="0">
                <a:solidFill>
                  <a:schemeClr val="accent1"/>
                </a:solidFill>
                <a:latin typeface="+mj-ea"/>
                <a:ea typeface="+mj-ea"/>
                <a:cs typeface="微软雅黑" panose="020B0503020204020204" charset="-122"/>
              </a:defRPr>
            </a:lvl1pPr>
          </a:lstStyle>
          <a:p>
            <a:pPr lvl="0"/>
            <a:r>
              <a:rPr dirty="0">
                <a:sym typeface="+mn-ea"/>
              </a:rPr>
              <a:t>单击此处编辑母版标题样式</a:t>
            </a:r>
            <a:endParaRPr dirty="0">
              <a:sym typeface="+mn-ea"/>
            </a:endParaRPr>
          </a:p>
        </p:txBody>
      </p:sp>
      <p:sp>
        <p:nvSpPr>
          <p:cNvPr id="11" name="标题"/>
          <p:cNvSpPr txBox="1">
            <a:spLocks noGrp="1"/>
          </p:cNvSpPr>
          <p:nvPr>
            <p:ph type="title" idx="2"/>
            <p:custDataLst>
              <p:tags r:id="rId6"/>
            </p:custDataLst>
          </p:nvPr>
        </p:nvSpPr>
        <p:spPr>
          <a:xfrm>
            <a:off x="611400" y="608400"/>
            <a:ext cx="10969200" cy="705600"/>
          </a:xfrm>
          <a:prstGeom prst="rect">
            <a:avLst/>
          </a:prstGeom>
          <a:noFill/>
          <a:ln>
            <a:noFill/>
            <a:prstDash val="sysDash"/>
          </a:ln>
        </p:spPr>
        <p:txBody>
          <a:bodyPr vert="horz" wrap="square" lIns="91440" tIns="45720" rIns="91440" bIns="45720" rtlCol="0" anchor="ctr">
            <a:normAutofit/>
          </a:bodyPr>
          <a:lstStyle>
            <a:lvl1pPr>
              <a:defRPr b="0" dirty="0">
                <a:sym typeface="+mn-ea"/>
              </a:defRPr>
            </a:lvl1pPr>
          </a:lstStyle>
          <a:p>
            <a:pPr marL="0" marR="0" lvl="0" fontAlgn="auto">
              <a:lnSpc>
                <a:spcPct val="100000"/>
              </a:lnSpc>
              <a:buClrTx/>
              <a:buSzTx/>
              <a:buFontTx/>
            </a:pPr>
            <a:r>
              <a:rPr dirty="0">
                <a:sym typeface="+mn-ea"/>
              </a:rPr>
              <a:t>单击此处编辑母版标题样式</a:t>
            </a:r>
            <a:endParaRPr dirty="0">
              <a:sym typeface="+mn-ea"/>
            </a:endParaRPr>
          </a:p>
        </p:txBody>
      </p:sp>
      <p:sp>
        <p:nvSpPr>
          <p:cNvPr id="7" name="日期占位符 6"/>
          <p:cNvSpPr>
            <a:spLocks noGrp="1"/>
          </p:cNvSpPr>
          <p:nvPr>
            <p:ph type="dt" sz="half" idx="10"/>
            <p:custDataLst>
              <p:tags r:id="rId7"/>
            </p:custDataLst>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a:xfrm>
            <a:off x="4038600" y="6356350"/>
            <a:ext cx="4114800" cy="365125"/>
          </a:xfrm>
        </p:spPr>
        <p:txBody>
          <a:bodyPr/>
          <a:lstStyle/>
          <a:p>
            <a:endParaRPr lang="zh-CN" altLang="en-US"/>
          </a:p>
        </p:txBody>
      </p:sp>
      <p:sp>
        <p:nvSpPr>
          <p:cNvPr id="9" name="灯片编号占位符 8"/>
          <p:cNvSpPr>
            <a:spLocks noGrp="1"/>
          </p:cNvSpPr>
          <p:nvPr>
            <p:ph type="sldNum" sz="quarter" idx="12"/>
            <p:custDataLst>
              <p:tags r:id="rId9"/>
            </p:custDataLst>
          </p:nvPr>
        </p:nvSpPr>
        <p:spPr>
          <a:xfrm>
            <a:off x="8610600" y="6356350"/>
            <a:ext cx="2743200" cy="365125"/>
          </a:xfrm>
        </p:spPr>
        <p:txBody>
          <a:bodyPr/>
          <a:lstStyle/>
          <a:p>
            <a:fld id="{565CE74E-AB26-4998-AD42-012C4C1AD076}" type="slidenum">
              <a:rPr lang="zh-CN" altLang="en-US" smtClean="0"/>
            </a:fld>
            <a:endParaRPr lang="zh-CN" altLang="en-US"/>
          </a:p>
        </p:txBody>
      </p:sp>
    </p:spTree>
  </p:cSld>
  <p:clrMapOvr>
    <a:masterClrMapping/>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17911"/>
            <a:ext cx="11273282" cy="449263"/>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fld id="{07C65409-2981-41B2-8EAB-603310736586}" type="datetime1">
              <a:rPr lang="en-US" smtClean="0"/>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126603"/>
            <a:ext cx="12192001" cy="2731397"/>
          </a:xfrm>
          <a:prstGeom prst="rect">
            <a:avLst/>
          </a:prstGeom>
        </p:spPr>
      </p:pic>
      <p:sp>
        <p:nvSpPr>
          <p:cNvPr id="10" name="Title Placeholder 2"/>
          <p:cNvSpPr>
            <a:spLocks noGrp="1" noChangeArrowheads="1"/>
          </p:cNvSpPr>
          <p:nvPr>
            <p:ph type="title"/>
          </p:nvPr>
        </p:nvSpPr>
        <p:spPr bwMode="gray">
          <a:xfrm>
            <a:off x="1177473" y="2120597"/>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2" y="548680"/>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6" name="标题"/>
          <p:cNvSpPr txBox="1">
            <a:spLocks noGrp="1"/>
          </p:cNvSpPr>
          <p:nvPr>
            <p:ph type="title" idx="2"/>
            <p:custDataLst>
              <p:tags r:id="rId2"/>
            </p:custDataLst>
          </p:nvPr>
        </p:nvSpPr>
        <p:spPr>
          <a:xfrm>
            <a:off x="611400" y="608400"/>
            <a:ext cx="10969200" cy="705600"/>
          </a:xfrm>
          <a:prstGeom prst="rect">
            <a:avLst/>
          </a:prstGeom>
          <a:noFill/>
          <a:ln>
            <a:noFill/>
            <a:prstDash val="sysDash"/>
          </a:ln>
        </p:spPr>
        <p:txBody>
          <a:bodyPr vert="horz" wrap="square" lIns="91440" tIns="45720" rIns="91440" bIns="45720" rtlCol="0" anchor="ctr">
            <a:normAutofit/>
          </a:bodyPr>
          <a:lstStyle>
            <a:lvl1pPr>
              <a:defRPr b="0">
                <a:sym typeface="+mn-ea"/>
              </a:defRPr>
            </a:lvl1pPr>
          </a:lstStyle>
          <a:p>
            <a:pPr marL="0" marR="0" lvl="0" fontAlgn="auto">
              <a:lnSpc>
                <a:spcPct val="100000"/>
              </a:lnSpc>
              <a:buClrTx/>
              <a:buSzTx/>
              <a:buFontTx/>
            </a:pPr>
            <a:r>
              <a:rPr dirty="0">
                <a:sym typeface="+mn-ea"/>
              </a:rPr>
              <a:t>单击此处编辑母版标题样式</a:t>
            </a:r>
            <a:endParaRPr dirty="0">
              <a:sym typeface="+mn-ea"/>
            </a:endParaRPr>
          </a:p>
        </p:txBody>
      </p:sp>
      <p:sp>
        <p:nvSpPr>
          <p:cNvPr id="3" name="日期占位符 2"/>
          <p:cNvSpPr>
            <a:spLocks noGrp="1"/>
          </p:cNvSpPr>
          <p:nvPr>
            <p:ph type="dt" sz="half" idx="10"/>
            <p:custDataLst>
              <p:tags r:id="rId3"/>
            </p:custDataLst>
          </p:nvPr>
        </p:nvSpPr>
        <p:spPr>
          <a:xfrm>
            <a:off x="838200" y="6356350"/>
            <a:ext cx="2743200" cy="365125"/>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custDataLst>
              <p:tags r:id="rId5"/>
            </p:custDataLst>
          </p:nvPr>
        </p:nvSpPr>
        <p:spPr>
          <a:xfrm>
            <a:off x="8610600" y="6356350"/>
            <a:ext cx="2743200" cy="365125"/>
          </a:xfrm>
        </p:spPr>
        <p:txBody>
          <a:bodyPr/>
          <a:lstStyle/>
          <a:p>
            <a:fld id="{49AE70B2-8BF9-45C0-BB95-33D1B9D3A854}" type="slidenum">
              <a:rPr lang="zh-CN" altLang="en-US" smtClean="0"/>
            </a:fld>
            <a:endParaRPr lang="zh-CN" altLang="en-US"/>
          </a:p>
        </p:txBody>
      </p:sp>
    </p:spTree>
  </p:cSld>
  <p:clrMapOvr>
    <a:masterClrMapping/>
  </p:clrMapOvr>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4833" y="1864513"/>
            <a:ext cx="4871677" cy="4035544"/>
          </a:xfrm>
        </p:spPr>
        <p:txBody>
          <a:bodyPr anchor="t">
            <a:normAutofit/>
          </a:bodyPr>
          <a:lstStyle>
            <a:lvl1pPr algn="l">
              <a:defRPr sz="4400" i="1">
                <a:solidFill>
                  <a:schemeClr val="bg1"/>
                </a:solidFill>
              </a:defRPr>
            </a:lvl1pPr>
          </a:lstStyle>
          <a:p>
            <a:r>
              <a:rPr lang="en-US"/>
              <a:t>Click to edit Master title style</a:t>
            </a:r>
            <a:endParaRPr lang="en-US"/>
          </a:p>
        </p:txBody>
      </p:sp>
      <p:sp>
        <p:nvSpPr>
          <p:cNvPr id="3" name="Subtitle 2"/>
          <p:cNvSpPr>
            <a:spLocks noGrp="1"/>
          </p:cNvSpPr>
          <p:nvPr>
            <p:ph type="subTitle" idx="1"/>
          </p:nvPr>
        </p:nvSpPr>
        <p:spPr>
          <a:xfrm>
            <a:off x="7086602" y="4517648"/>
            <a:ext cx="4849907" cy="403208"/>
          </a:xfrm>
        </p:spPr>
        <p:txBody>
          <a:bodyPr/>
          <a:lstStyle>
            <a:lvl1pPr marL="0" indent="0" algn="l">
              <a:buNone/>
              <a:defRPr sz="2400">
                <a:solidFill>
                  <a:schemeClr val="bg1"/>
                </a:solidFill>
              </a:defRPr>
            </a:lvl1pPr>
            <a:lvl2pPr marL="457200" indent="0" algn="ctr">
              <a:buNone/>
              <a:defRPr sz="2000"/>
            </a:lvl2pPr>
            <a:lvl3pPr marL="913765" indent="0" algn="ctr">
              <a:buNone/>
              <a:defRPr sz="1900"/>
            </a:lvl3pPr>
            <a:lvl4pPr marL="1370965" indent="0" algn="ctr">
              <a:buNone/>
              <a:defRPr sz="1600"/>
            </a:lvl4pPr>
            <a:lvl5pPr marL="1827530" indent="0" algn="ctr">
              <a:buNone/>
              <a:defRPr sz="1600"/>
            </a:lvl5pPr>
            <a:lvl6pPr marL="2284730" indent="0" algn="ctr">
              <a:buNone/>
              <a:defRPr sz="1600"/>
            </a:lvl6pPr>
            <a:lvl7pPr marL="2741930" indent="0" algn="ctr">
              <a:buNone/>
              <a:defRPr sz="1600"/>
            </a:lvl7pPr>
            <a:lvl8pPr marL="3199130" indent="0" algn="ctr">
              <a:buNone/>
              <a:defRPr sz="1600"/>
            </a:lvl8pPr>
            <a:lvl9pPr marL="3655695" indent="0" algn="ctr">
              <a:buNone/>
              <a:defRPr sz="1600"/>
            </a:lvl9pPr>
          </a:lstStyle>
          <a:p>
            <a:r>
              <a:rPr lang="en-US"/>
              <a:t>Click to edit Master subtitle style</a:t>
            </a:r>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3"/>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5"/>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3"/>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1"/>
            <a:ext cx="1880564" cy="622211"/>
          </a:xfrm>
          <a:prstGeom prst="rect">
            <a:avLst/>
          </a:prstGeom>
        </p:spPr>
      </p:pic>
      <p:sp>
        <p:nvSpPr>
          <p:cNvPr id="17" name="Rectangle 16"/>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a:t>Click to edit Master title style</a:t>
            </a:r>
            <a:endParaRPr lang="en-US" noProof="0"/>
          </a:p>
        </p:txBody>
      </p:sp>
      <p:sp>
        <p:nvSpPr>
          <p:cNvPr id="10"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a:t>Click to edit Master title style</a:t>
            </a:r>
            <a:endParaRPr lang="en-US" noProof="0"/>
          </a:p>
        </p:txBody>
      </p:sp>
      <p:sp>
        <p:nvSpPr>
          <p:cNvPr id="5" name="Rectangle 4"/>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126603"/>
            <a:ext cx="12192001" cy="2731397"/>
          </a:xfrm>
          <a:prstGeom prst="rect">
            <a:avLst/>
          </a:prstGeom>
        </p:spPr>
      </p:pic>
      <p:sp>
        <p:nvSpPr>
          <p:cNvPr id="10" name="Title Placeholder 2"/>
          <p:cNvSpPr>
            <a:spLocks noGrp="1" noChangeArrowheads="1"/>
          </p:cNvSpPr>
          <p:nvPr>
            <p:ph type="title"/>
          </p:nvPr>
        </p:nvSpPr>
        <p:spPr bwMode="gray">
          <a:xfrm>
            <a:off x="1177473" y="2120598"/>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a:t>Click to edit Master title style</a:t>
            </a:r>
            <a:endParaRPr lang="en-US" noProof="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3" y="548681"/>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a:solidFill>
                  <a:srgbClr val="F36419"/>
                </a:solidFill>
                <a:ea typeface="微软雅黑" panose="020B0503020204020204" charset="-122"/>
                <a:cs typeface="微软雅黑" panose="020B0503020204020204" charset="-122"/>
              </a:rPr>
              <a:t>OUR MISSION</a:t>
            </a:r>
            <a:endParaRPr lang="en-US" sz="2000" b="1">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2" name="任意多边形: 形状 11"/>
          <p:cNvSpPr/>
          <p:nvPr>
            <p:custDataLst>
              <p:tags r:id="rId2"/>
            </p:custDataLst>
          </p:nvPr>
        </p:nvSpPr>
        <p:spPr>
          <a:xfrm>
            <a:off x="-6092" y="2573"/>
            <a:ext cx="683878" cy="728321"/>
          </a:xfrm>
          <a:custGeom>
            <a:avLst/>
            <a:gdLst>
              <a:gd name="connsiteX0" fmla="*/ 604834 w 683878"/>
              <a:gd name="connsiteY0" fmla="*/ 0 h 728321"/>
              <a:gd name="connsiteX1" fmla="*/ 648236 w 683878"/>
              <a:gd name="connsiteY1" fmla="*/ 80864 h 728321"/>
              <a:gd name="connsiteX2" fmla="*/ 394224 w 683878"/>
              <a:gd name="connsiteY2" fmla="*/ 692631 h 728321"/>
              <a:gd name="connsiteX3" fmla="*/ 35673 w 683878"/>
              <a:gd name="connsiteY3" fmla="*/ 692469 h 728321"/>
              <a:gd name="connsiteX4" fmla="*/ 0 w 683878"/>
              <a:gd name="connsiteY4" fmla="*/ 673504 h 728321"/>
              <a:gd name="connsiteX5" fmla="*/ 45 w 683878"/>
              <a:gd name="connsiteY5" fmla="*/ 397741 h 728321"/>
              <a:gd name="connsiteX6" fmla="*/ 3110 w 683878"/>
              <a:gd name="connsiteY6" fmla="*/ 403451 h 728321"/>
              <a:gd name="connsiteX7" fmla="*/ 313115 w 683878"/>
              <a:gd name="connsiteY7" fmla="*/ 496476 h 728321"/>
              <a:gd name="connsiteX8" fmla="*/ 451989 w 683878"/>
              <a:gd name="connsiteY8" fmla="*/ 162010 h 728321"/>
              <a:gd name="connsiteX9" fmla="*/ 117459 w 683878"/>
              <a:gd name="connsiteY9" fmla="*/ 23293 h 728321"/>
              <a:gd name="connsiteX10" fmla="*/ 1825 w 683878"/>
              <a:gd name="connsiteY10" fmla="*/ 118421 h 728321"/>
              <a:gd name="connsiteX11" fmla="*/ 91 w 683878"/>
              <a:gd name="connsiteY11" fmla="*/ 121677 h 728321"/>
              <a:gd name="connsiteX12" fmla="*/ 111 w 683878"/>
              <a:gd name="connsiteY12" fmla="*/ 100 h 728321"/>
              <a:gd name="connsiteX13" fmla="*/ 604834 w 683878"/>
              <a:gd name="connsiteY13" fmla="*/ 0 h 72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878" h="728321">
                <a:moveTo>
                  <a:pt x="604834" y="0"/>
                </a:moveTo>
                <a:lnTo>
                  <a:pt x="648236" y="80864"/>
                </a:lnTo>
                <a:cubicBezTo>
                  <a:pt x="747060" y="319863"/>
                  <a:pt x="633335" y="593761"/>
                  <a:pt x="394224" y="692631"/>
                </a:cubicBezTo>
                <a:cubicBezTo>
                  <a:pt x="274668" y="742067"/>
                  <a:pt x="146403" y="738385"/>
                  <a:pt x="35673" y="692469"/>
                </a:cubicBezTo>
                <a:lnTo>
                  <a:pt x="0" y="673504"/>
                </a:lnTo>
                <a:lnTo>
                  <a:pt x="45" y="397741"/>
                </a:lnTo>
                <a:lnTo>
                  <a:pt x="3110" y="403451"/>
                </a:lnTo>
                <a:cubicBezTo>
                  <a:pt x="69761" y="502135"/>
                  <a:pt x="198730" y="543773"/>
                  <a:pt x="313115" y="496476"/>
                </a:cubicBezTo>
                <a:cubicBezTo>
                  <a:pt x="443842" y="442421"/>
                  <a:pt x="506018" y="292676"/>
                  <a:pt x="451989" y="162010"/>
                </a:cubicBezTo>
                <a:cubicBezTo>
                  <a:pt x="397960" y="31345"/>
                  <a:pt x="248185" y="-30762"/>
                  <a:pt x="117459" y="23293"/>
                </a:cubicBezTo>
                <a:cubicBezTo>
                  <a:pt x="68436" y="43563"/>
                  <a:pt x="29053" y="77290"/>
                  <a:pt x="1825" y="118421"/>
                </a:cubicBezTo>
                <a:lnTo>
                  <a:pt x="91" y="121677"/>
                </a:lnTo>
                <a:lnTo>
                  <a:pt x="111" y="100"/>
                </a:lnTo>
                <a:lnTo>
                  <a:pt x="604834" y="0"/>
                </a:lnTo>
                <a:close/>
              </a:path>
            </a:pathLst>
          </a:custGeom>
          <a:gradFill flip="none" rotWithShape="1">
            <a:gsLst>
              <a:gs pos="33000">
                <a:schemeClr val="bg1">
                  <a:alpha val="0"/>
                </a:schemeClr>
              </a:gs>
              <a:gs pos="88000">
                <a:schemeClr val="accent1"/>
              </a:gs>
            </a:gsLst>
            <a:path path="circle">
              <a:fillToRect r="100000" b="100000"/>
            </a:path>
            <a:tileRect l="-100000" t="-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solidFill>
                <a:schemeClr val="tx1"/>
              </a:solidFill>
              <a:cs typeface="微软雅黑" panose="020B0503020204020204" charset="-122"/>
            </a:endParaRPr>
          </a:p>
        </p:txBody>
      </p:sp>
      <p:sp>
        <p:nvSpPr>
          <p:cNvPr id="2" name="日期占位符 1"/>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4"/>
            </p:custDataLst>
          </p:nvPr>
        </p:nvSpPr>
        <p:spPr/>
        <p:txBody>
          <a:bodyPr/>
          <a:lstStyle/>
          <a:p>
            <a:endParaRPr lang="zh-CN" altLang="en-US"/>
          </a:p>
        </p:txBody>
      </p:sp>
      <p:sp>
        <p:nvSpPr>
          <p:cNvPr id="4" name="灯片编号占位符 3"/>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lvl1pPr>
              <a:defRPr>
                <a:ea typeface="微软雅黑" panose="020B0503020204020204" charset="-122"/>
                <a:cs typeface="微软雅黑" panose="020B0503020204020204" charset="-122"/>
              </a:defRPr>
            </a:lvl1pPr>
          </a:lstStyle>
          <a:p>
            <a:fld id="{86CB4B4D-7CA3-9044-876B-883B54F8677D}" type="slidenum">
              <a:rPr/>
            </a:fld>
            <a:endParaRPr/>
          </a:p>
        </p:txBody>
      </p:sp>
    </p:spTree>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9358" y="217913"/>
            <a:ext cx="11273282" cy="449263"/>
          </a:xfrm>
          <a:prstGeom prst="rect">
            <a:avLst/>
          </a:prstGeom>
        </p:spPr>
        <p:txBody>
          <a:bodyPr wrap="square" lIns="0" tIns="0" rIns="0" bIns="0">
            <a:spAutoFit/>
          </a:bodyPr>
          <a:lstStyle>
            <a:lvl1pPr>
              <a:defRPr sz="2665" b="0" i="0" u="sng">
                <a:solidFill>
                  <a:srgbClr val="31648A"/>
                </a:solidFill>
                <a:latin typeface="+mn-lt"/>
                <a:cs typeface="微软雅黑" panose="020B0503020204020204" charset="-122"/>
              </a:defRPr>
            </a:lvl1pPr>
          </a:lstStyle>
          <a:p/>
        </p:txBody>
      </p:sp>
      <p:sp>
        <p:nvSpPr>
          <p:cNvPr id="3" name="Holder 3"/>
          <p:cNvSpPr>
            <a:spLocks noGrp="1"/>
          </p:cNvSpPr>
          <p:nvPr>
            <p:ph type="subTitle" idx="4"/>
          </p:nvPr>
        </p:nvSpPr>
        <p:spPr>
          <a:xfrm>
            <a:off x="1828800" y="3840480"/>
            <a:ext cx="8534400" cy="223972"/>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p:txBody>
      </p:sp>
      <p:sp>
        <p:nvSpPr>
          <p:cNvPr id="5" name="Holder 5"/>
          <p:cNvSpPr>
            <a:spLocks noGrp="1"/>
          </p:cNvSpPr>
          <p:nvPr>
            <p:ph type="dt" sz="half" idx="6"/>
          </p:nvPr>
        </p:nvSpPr>
        <p:spPr/>
        <p:txBody>
          <a:bodyPr lIns="0" tIns="0" rIns="0" bIns="0"/>
          <a:lstStyle>
            <a:lvl1pPr algn="l">
              <a:defRPr>
                <a:solidFill>
                  <a:schemeClr val="tx1">
                    <a:tint val="75000"/>
                  </a:schemeClr>
                </a:solidFill>
                <a:ea typeface="微软雅黑" panose="020B0503020204020204" charset="-122"/>
                <a:cs typeface="微软雅黑" panose="020B0503020204020204" charset="-122"/>
              </a:defRPr>
            </a:lvl1pPr>
          </a:lstStyle>
          <a:p>
            <a:fld id="{D21BC11F-F1AA-49CA-9747-458763285982}" type="datetime1">
              <a:rPr lang="en-US" smtClean="0"/>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mn-lt"/>
                <a:ea typeface="微软雅黑" panose="020B0503020204020204" charset="-122"/>
                <a:cs typeface="Calibri Light" panose="020F0302020204030204"/>
              </a:defRPr>
            </a:lvl1pPr>
          </a:lstStyle>
          <a:p>
            <a:pPr marL="25400">
              <a:lnSpc>
                <a:spcPts val="1240"/>
              </a:lnSpc>
            </a:pPr>
            <a:fld id="{81D60167-4931-47E6-BA6A-407CBD079E47}" type="slidenum">
              <a:rPr lang="en-US" smtClean="0"/>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064833" y="1864514"/>
            <a:ext cx="4871677" cy="4035544"/>
          </a:xfrm>
        </p:spPr>
        <p:txBody>
          <a:bodyPr anchor="t">
            <a:normAutofit/>
          </a:bodyPr>
          <a:lstStyle>
            <a:lvl1pPr algn="l">
              <a:defRPr sz="4400" i="1">
                <a:solidFill>
                  <a:schemeClr val="bg1"/>
                </a:solidFill>
              </a:defRPr>
            </a:lvl1pPr>
          </a:lstStyle>
          <a:p>
            <a:r>
              <a:rPr lang="en-US"/>
              <a:t>Click to edit Master title style</a:t>
            </a:r>
            <a:endParaRPr lang="en-US"/>
          </a:p>
        </p:txBody>
      </p:sp>
      <p:sp>
        <p:nvSpPr>
          <p:cNvPr id="3" name="Subtitle 2"/>
          <p:cNvSpPr>
            <a:spLocks noGrp="1"/>
          </p:cNvSpPr>
          <p:nvPr>
            <p:ph type="subTitle" idx="1"/>
          </p:nvPr>
        </p:nvSpPr>
        <p:spPr>
          <a:xfrm>
            <a:off x="7086603" y="4517649"/>
            <a:ext cx="4849907" cy="403208"/>
          </a:xfrm>
        </p:spPr>
        <p:txBody>
          <a:bodyPr/>
          <a:lstStyle>
            <a:lvl1pPr marL="0" indent="0" algn="l">
              <a:buNone/>
              <a:defRPr sz="2400">
                <a:solidFill>
                  <a:schemeClr val="bg1"/>
                </a:solidFill>
              </a:defRPr>
            </a:lvl1pPr>
            <a:lvl2pPr marL="456565" indent="0" algn="ctr">
              <a:buNone/>
              <a:defRPr sz="2000"/>
            </a:lvl2pPr>
            <a:lvl3pPr marL="913765" indent="0" algn="ctr">
              <a:buNone/>
              <a:defRPr sz="1900"/>
            </a:lvl3pPr>
            <a:lvl4pPr marL="1370330" indent="0" algn="ctr">
              <a:buNone/>
              <a:defRPr sz="1600"/>
            </a:lvl4pPr>
            <a:lvl5pPr marL="1827530" indent="0" algn="ctr">
              <a:buNone/>
              <a:defRPr sz="1600"/>
            </a:lvl5pPr>
            <a:lvl6pPr marL="2284730" indent="0" algn="ctr">
              <a:buNone/>
              <a:defRPr sz="1600"/>
            </a:lvl6pPr>
            <a:lvl7pPr marL="2741930" indent="0" algn="ctr">
              <a:buNone/>
              <a:defRPr sz="1600"/>
            </a:lvl7pPr>
            <a:lvl8pPr marL="3198495" indent="0" algn="ctr">
              <a:buNone/>
              <a:defRPr sz="1600"/>
            </a:lvl8pPr>
            <a:lvl9pPr marL="3655695" indent="0" algn="ctr">
              <a:buNone/>
              <a:defRPr sz="1600"/>
            </a:lvl9pPr>
          </a:lstStyle>
          <a:p>
            <a:r>
              <a:rPr lang="en-US"/>
              <a:t>Click to edit Master subtitle style</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ea typeface="微软雅黑" panose="020B0503020204020204" charset="-122"/>
                <a:cs typeface="微软雅黑" panose="020B0503020204020204" charset="-122"/>
              </a:defRPr>
            </a:lvl1pPr>
          </a:lstStyle>
          <a:p>
            <a:pPr defTabSz="914400">
              <a:defRPr/>
            </a:pPr>
            <a:fld id="{A72EFBDC-A62B-4A94-9860-F767806D6283}" type="datetime1">
              <a:rPr lang="en-US" smtClean="0">
                <a:solidFill>
                  <a:srgbClr val="000000"/>
                </a:solidFill>
              </a:rPr>
            </a:fld>
            <a:endParaRPr lang="en-US">
              <a:solidFill>
                <a:srgbClr val="000000"/>
              </a:solidFill>
            </a:endParaRPr>
          </a:p>
        </p:txBody>
      </p:sp>
      <p:sp>
        <p:nvSpPr>
          <p:cNvPr id="3" name="Footer Placeholder 2"/>
          <p:cNvSpPr>
            <a:spLocks noGrp="1"/>
          </p:cNvSpPr>
          <p:nvPr>
            <p:ph type="ftr" sz="quarter" idx="11"/>
          </p:nvPr>
        </p:nvSpPr>
        <p:spPr/>
        <p:txBody>
          <a:bodyPr/>
          <a:lstStyle>
            <a:lvl1pPr>
              <a:defRPr>
                <a:ea typeface="微软雅黑" panose="020B0503020204020204" charset="-122"/>
                <a:cs typeface="微软雅黑" panose="020B0503020204020204" charset="-122"/>
              </a:defRPr>
            </a:lvl1p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lvl1pPr>
              <a:defRPr>
                <a:ea typeface="微软雅黑" panose="020B0503020204020204" charset="-122"/>
                <a:cs typeface="微软雅黑" panose="020B0503020204020204" charset="-122"/>
              </a:defRPr>
            </a:lvl1pPr>
          </a:lstStyle>
          <a:p>
            <a:pPr defTabSz="914400">
              <a:defRPr/>
            </a:pPr>
            <a:fld id="{FF6319FF-1DE5-4A84-BE86-74DE60C0FF39}" type="slidenum">
              <a:rPr lang="en-US" smtClean="0">
                <a:solidFill>
                  <a:srgbClr val="000000"/>
                </a:solidFill>
              </a:rPr>
            </a:fld>
            <a:endParaRPr lang="en-US">
              <a:solidFill>
                <a:srgbClr val="000000"/>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7833" y="1608513"/>
            <a:ext cx="5181600" cy="1258143"/>
          </a:xfrm>
        </p:spPr>
        <p:txBody>
          <a:bodyPr/>
          <a:lstStyle>
            <a:lvl1pPr>
              <a:buClr>
                <a:srgbClr val="C30F1E"/>
              </a:buClr>
              <a:defRPr sz="160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5951833" y="1606463"/>
            <a:ext cx="5181600" cy="1258143"/>
          </a:xfrm>
        </p:spPr>
        <p:txBody>
          <a:bodyPr/>
          <a:lstStyle>
            <a:lvl1pPr marL="342900" indent="-342900">
              <a:buClr>
                <a:srgbClr val="C30F1E"/>
              </a:buClr>
              <a:buFont typeface="Arial" panose="020B0604020202020204" pitchFamily="34" charset="0"/>
              <a:buChar char="•"/>
              <a:defRPr sz="1600"/>
            </a:lvl1pPr>
            <a:lvl2pPr marL="800100" indent="-342900">
              <a:buClr>
                <a:srgbClr val="C30F1E"/>
              </a:buClr>
              <a:buFont typeface="Arial" panose="020B0604020202020204" pitchFamily="34" charset="0"/>
              <a:buChar char="•"/>
              <a:defRPr/>
            </a:lvl2pPr>
            <a:lvl3pPr marL="1200150" indent="-285750">
              <a:buClr>
                <a:srgbClr val="C30F1E"/>
              </a:buClr>
              <a:buFont typeface="Arial" panose="020B0604020202020204" pitchFamily="34" charset="0"/>
              <a:buChar char="•"/>
              <a:defRPr/>
            </a:lvl3pPr>
            <a:lvl4pPr marL="1657350" indent="-285750">
              <a:buClr>
                <a:srgbClr val="C30F1E"/>
              </a:buClr>
              <a:buFont typeface="Arial" panose="020B0604020202020204" pitchFamily="34" charset="0"/>
              <a:buChar char="•"/>
              <a:defRPr/>
            </a:lvl4pPr>
            <a:lvl5pPr marL="2114550" indent="-285750">
              <a:buClr>
                <a:srgbClr val="C30F1E"/>
              </a:buClr>
              <a:buFont typeface="Arial" panose="020B0604020202020204" pitchFamily="34" charset="0"/>
              <a:buChar char="•"/>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9" name="Slide Number Placeholder 5"/>
          <p:cNvSpPr>
            <a:spLocks noGrp="1"/>
          </p:cNvSpPr>
          <p:nvPr>
            <p:ph type="sldNum" sz="quarter" idx="12"/>
          </p:nvPr>
        </p:nvSpPr>
        <p:spPr>
          <a:xfrm>
            <a:off x="11333313" y="6356354"/>
            <a:ext cx="457987" cy="230843"/>
          </a:xfrm>
        </p:spPr>
        <p:txBody>
          <a:bodyPr/>
          <a:lstStyle>
            <a:lvl1pPr>
              <a:defRPr>
                <a:ea typeface="微软雅黑" panose="020B0503020204020204" charset="-122"/>
                <a:cs typeface="微软雅黑" panose="020B0503020204020204" charset="-122"/>
              </a:defRPr>
            </a:lvl1pPr>
          </a:lstStyle>
          <a:p>
            <a:fld id="{5F68880D-600E-4861-B622-442275FD0F25}" type="slidenum">
              <a:rPr lang="en-US" smtClean="0"/>
            </a:fld>
            <a:endParaRPr lang="en-US"/>
          </a:p>
        </p:txBody>
      </p:sp>
      <p:sp>
        <p:nvSpPr>
          <p:cNvPr id="10" name="Title 1"/>
          <p:cNvSpPr>
            <a:spLocks noGrp="1"/>
          </p:cNvSpPr>
          <p:nvPr>
            <p:ph type="title"/>
          </p:nvPr>
        </p:nvSpPr>
        <p:spPr>
          <a:xfrm>
            <a:off x="617837" y="527294"/>
            <a:ext cx="5189079" cy="498435"/>
          </a:xfrm>
          <a:noFill/>
        </p:spPr>
        <p:txBody>
          <a:bodyPr anchor="ctr">
            <a:normAutofit/>
          </a:bodyPr>
          <a:lstStyle>
            <a:lvl1pPr>
              <a:defRPr sz="2400">
                <a:solidFill>
                  <a:srgbClr val="0000FF"/>
                </a:solidFill>
              </a:defRPr>
            </a:lvl1pPr>
          </a:lstStyle>
          <a:p>
            <a:r>
              <a:rPr lang="en-US" dirty="0"/>
              <a:t>Click to edit Master title style</a:t>
            </a:r>
            <a:endParaRPr lang="en-US" dirty="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2"/>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4"/>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dirty="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2"/>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2"/>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7"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dirty="0">
                <a:solidFill>
                  <a:schemeClr val="accent1"/>
                </a:solidFill>
                <a:ea typeface="微软雅黑" panose="020B0503020204020204" charset="-122"/>
                <a:cs typeface="微软雅黑" panose="020B0503020204020204" charset="-122"/>
              </a:rPr>
              <a:t>Document type | Date</a:t>
            </a:r>
            <a:endParaRPr lang="en-US" sz="2000" b="1" dirty="0">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endParaRPr lang="en-US" dirty="0"/>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0"/>
            <a:ext cx="1880564" cy="622211"/>
          </a:xfrm>
          <a:prstGeom prst="rect">
            <a:avLst/>
          </a:prstGeom>
        </p:spPr>
      </p:pic>
      <p:sp>
        <p:nvSpPr>
          <p:cNvPr id="17" name="Rectangle 16"/>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dirty="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showMasterSp="0">
  <p:cSld name="仅内容">
    <p:spTree>
      <p:nvGrpSpPr>
        <p:cNvPr id="1" name=""/>
        <p:cNvGrpSpPr/>
        <p:nvPr/>
      </p:nvGrpSpPr>
      <p:grpSpPr>
        <a:xfrm>
          <a:off x="0" y="0"/>
          <a:ext cx="0" cy="0"/>
          <a:chOff x="0" y="0"/>
          <a:chExt cx="0" cy="0"/>
        </a:xfrm>
      </p:grpSpPr>
      <p:sp>
        <p:nvSpPr>
          <p:cNvPr id="10" name="任意多边形: 形状 9"/>
          <p:cNvSpPr/>
          <p:nvPr>
            <p:custDataLst>
              <p:tags r:id="rId2"/>
            </p:custDataLst>
          </p:nvPr>
        </p:nvSpPr>
        <p:spPr>
          <a:xfrm>
            <a:off x="10528235" y="5352757"/>
            <a:ext cx="1663756" cy="1505347"/>
          </a:xfrm>
          <a:custGeom>
            <a:avLst/>
            <a:gdLst>
              <a:gd name="connsiteX0" fmla="*/ 1663756 w 1663756"/>
              <a:gd name="connsiteY0" fmla="*/ 0 h 1505347"/>
              <a:gd name="connsiteX1" fmla="*/ 1663448 w 1663756"/>
              <a:gd name="connsiteY1" fmla="*/ 721124 h 1505347"/>
              <a:gd name="connsiteX2" fmla="*/ 1559311 w 1663756"/>
              <a:gd name="connsiteY2" fmla="*/ 738909 h 1505347"/>
              <a:gd name="connsiteX3" fmla="*/ 1345905 w 1663756"/>
              <a:gd name="connsiteY3" fmla="*/ 810930 h 1505347"/>
              <a:gd name="connsiteX4" fmla="*/ 761888 w 1663756"/>
              <a:gd name="connsiteY4" fmla="*/ 1432106 h 1505347"/>
              <a:gd name="connsiteX5" fmla="*/ 738539 w 1663756"/>
              <a:gd name="connsiteY5" fmla="*/ 1505347 h 1505347"/>
              <a:gd name="connsiteX6" fmla="*/ 699919 w 1663756"/>
              <a:gd name="connsiteY6" fmla="*/ 1504681 h 1505347"/>
              <a:gd name="connsiteX7" fmla="*/ 0 w 1663756"/>
              <a:gd name="connsiteY7" fmla="*/ 1505295 h 1505347"/>
              <a:gd name="connsiteX8" fmla="*/ 35272 w 1663756"/>
              <a:gd name="connsiteY8" fmla="*/ 1345860 h 1505347"/>
              <a:gd name="connsiteX9" fmla="*/ 1049799 w 1663756"/>
              <a:gd name="connsiteY9" fmla="*/ 155437 h 1505347"/>
              <a:gd name="connsiteX10" fmla="*/ 1580244 w 1663756"/>
              <a:gd name="connsiteY10" fmla="*/ 6378 h 1505347"/>
              <a:gd name="connsiteX11" fmla="*/ 1663756 w 1663756"/>
              <a:gd name="connsiteY11" fmla="*/ 0 h 150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3756" h="1505347">
                <a:moveTo>
                  <a:pt x="1663756" y="0"/>
                </a:moveTo>
                <a:lnTo>
                  <a:pt x="1663448" y="721124"/>
                </a:lnTo>
                <a:lnTo>
                  <a:pt x="1559311" y="738909"/>
                </a:lnTo>
                <a:cubicBezTo>
                  <a:pt x="1487335" y="755400"/>
                  <a:pt x="1415920" y="779302"/>
                  <a:pt x="1345905" y="810930"/>
                </a:cubicBezTo>
                <a:cubicBezTo>
                  <a:pt x="1065266" y="937703"/>
                  <a:pt x="863047" y="1165585"/>
                  <a:pt x="761888" y="1432106"/>
                </a:cubicBezTo>
                <a:lnTo>
                  <a:pt x="738539" y="1505347"/>
                </a:lnTo>
                <a:lnTo>
                  <a:pt x="699919" y="1504681"/>
                </a:lnTo>
                <a:lnTo>
                  <a:pt x="0" y="1505295"/>
                </a:lnTo>
                <a:lnTo>
                  <a:pt x="35272" y="1345860"/>
                </a:lnTo>
                <a:cubicBezTo>
                  <a:pt x="174165" y="835899"/>
                  <a:pt x="530762" y="389902"/>
                  <a:pt x="1049799" y="155437"/>
                </a:cubicBezTo>
                <a:cubicBezTo>
                  <a:pt x="1222812" y="77282"/>
                  <a:pt x="1401220" y="28037"/>
                  <a:pt x="1580244" y="6378"/>
                </a:cubicBezTo>
                <a:lnTo>
                  <a:pt x="1663756" y="0"/>
                </a:lnTo>
                <a:close/>
              </a:path>
            </a:pathLst>
          </a:custGeom>
          <a:gradFill flip="none" rotWithShape="1">
            <a:gsLst>
              <a:gs pos="31000">
                <a:schemeClr val="accent1">
                  <a:lumMod val="20000"/>
                  <a:lumOff val="80000"/>
                </a:schemeClr>
              </a:gs>
              <a:gs pos="74000">
                <a:schemeClr val="accent1"/>
              </a:gs>
            </a:gsLst>
            <a:lin ang="13500000" scaled="1"/>
            <a:tileRect/>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solidFill>
                <a:schemeClr val="tx1"/>
              </a:solidFill>
              <a:cs typeface="微软雅黑" panose="020B0503020204020204" charset="-122"/>
            </a:endParaRPr>
          </a:p>
        </p:txBody>
      </p:sp>
      <p:sp>
        <p:nvSpPr>
          <p:cNvPr id="11" name="任意多边形: 形状 10"/>
          <p:cNvSpPr/>
          <p:nvPr>
            <p:custDataLst>
              <p:tags r:id="rId3"/>
            </p:custDataLst>
          </p:nvPr>
        </p:nvSpPr>
        <p:spPr>
          <a:xfrm>
            <a:off x="-6092" y="2573"/>
            <a:ext cx="683878" cy="728321"/>
          </a:xfrm>
          <a:custGeom>
            <a:avLst/>
            <a:gdLst>
              <a:gd name="connsiteX0" fmla="*/ 604834 w 683878"/>
              <a:gd name="connsiteY0" fmla="*/ 0 h 728321"/>
              <a:gd name="connsiteX1" fmla="*/ 648236 w 683878"/>
              <a:gd name="connsiteY1" fmla="*/ 80864 h 728321"/>
              <a:gd name="connsiteX2" fmla="*/ 394224 w 683878"/>
              <a:gd name="connsiteY2" fmla="*/ 692631 h 728321"/>
              <a:gd name="connsiteX3" fmla="*/ 35673 w 683878"/>
              <a:gd name="connsiteY3" fmla="*/ 692469 h 728321"/>
              <a:gd name="connsiteX4" fmla="*/ 0 w 683878"/>
              <a:gd name="connsiteY4" fmla="*/ 673504 h 728321"/>
              <a:gd name="connsiteX5" fmla="*/ 45 w 683878"/>
              <a:gd name="connsiteY5" fmla="*/ 397741 h 728321"/>
              <a:gd name="connsiteX6" fmla="*/ 3110 w 683878"/>
              <a:gd name="connsiteY6" fmla="*/ 403451 h 728321"/>
              <a:gd name="connsiteX7" fmla="*/ 313115 w 683878"/>
              <a:gd name="connsiteY7" fmla="*/ 496476 h 728321"/>
              <a:gd name="connsiteX8" fmla="*/ 451989 w 683878"/>
              <a:gd name="connsiteY8" fmla="*/ 162010 h 728321"/>
              <a:gd name="connsiteX9" fmla="*/ 117459 w 683878"/>
              <a:gd name="connsiteY9" fmla="*/ 23293 h 728321"/>
              <a:gd name="connsiteX10" fmla="*/ 1825 w 683878"/>
              <a:gd name="connsiteY10" fmla="*/ 118421 h 728321"/>
              <a:gd name="connsiteX11" fmla="*/ 91 w 683878"/>
              <a:gd name="connsiteY11" fmla="*/ 121677 h 728321"/>
              <a:gd name="connsiteX12" fmla="*/ 111 w 683878"/>
              <a:gd name="connsiteY12" fmla="*/ 100 h 728321"/>
              <a:gd name="connsiteX13" fmla="*/ 604834 w 683878"/>
              <a:gd name="connsiteY13" fmla="*/ 0 h 72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878" h="728321">
                <a:moveTo>
                  <a:pt x="604834" y="0"/>
                </a:moveTo>
                <a:lnTo>
                  <a:pt x="648236" y="80864"/>
                </a:lnTo>
                <a:cubicBezTo>
                  <a:pt x="747060" y="319863"/>
                  <a:pt x="633335" y="593761"/>
                  <a:pt x="394224" y="692631"/>
                </a:cubicBezTo>
                <a:cubicBezTo>
                  <a:pt x="274668" y="742067"/>
                  <a:pt x="146403" y="738385"/>
                  <a:pt x="35673" y="692469"/>
                </a:cubicBezTo>
                <a:lnTo>
                  <a:pt x="0" y="673504"/>
                </a:lnTo>
                <a:lnTo>
                  <a:pt x="45" y="397741"/>
                </a:lnTo>
                <a:lnTo>
                  <a:pt x="3110" y="403451"/>
                </a:lnTo>
                <a:cubicBezTo>
                  <a:pt x="69761" y="502135"/>
                  <a:pt x="198730" y="543773"/>
                  <a:pt x="313115" y="496476"/>
                </a:cubicBezTo>
                <a:cubicBezTo>
                  <a:pt x="443842" y="442421"/>
                  <a:pt x="506018" y="292676"/>
                  <a:pt x="451989" y="162010"/>
                </a:cubicBezTo>
                <a:cubicBezTo>
                  <a:pt x="397960" y="31345"/>
                  <a:pt x="248185" y="-30762"/>
                  <a:pt x="117459" y="23293"/>
                </a:cubicBezTo>
                <a:cubicBezTo>
                  <a:pt x="68436" y="43563"/>
                  <a:pt x="29053" y="77290"/>
                  <a:pt x="1825" y="118421"/>
                </a:cubicBezTo>
                <a:lnTo>
                  <a:pt x="91" y="121677"/>
                </a:lnTo>
                <a:lnTo>
                  <a:pt x="111" y="100"/>
                </a:lnTo>
                <a:lnTo>
                  <a:pt x="604834" y="0"/>
                </a:lnTo>
                <a:close/>
              </a:path>
            </a:pathLst>
          </a:custGeom>
          <a:gradFill flip="none" rotWithShape="1">
            <a:gsLst>
              <a:gs pos="33000">
                <a:schemeClr val="bg1">
                  <a:alpha val="0"/>
                </a:schemeClr>
              </a:gs>
              <a:gs pos="88000">
                <a:schemeClr val="accent1"/>
              </a:gs>
            </a:gsLst>
            <a:path path="circle">
              <a:fillToRect r="100000" b="100000"/>
            </a:path>
            <a:tileRect l="-100000" t="-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solidFill>
                <a:schemeClr val="tx1"/>
              </a:solidFill>
              <a:cs typeface="微软雅黑" panose="020B0503020204020204" charset="-122"/>
            </a:endParaRPr>
          </a:p>
        </p:txBody>
      </p:sp>
      <p:sp>
        <p:nvSpPr>
          <p:cNvPr id="7" name="正文"/>
          <p:cNvSpPr txBox="1">
            <a:spLocks noGrp="1"/>
          </p:cNvSpPr>
          <p:nvPr>
            <p:ph idx="1"/>
            <p:custDataLst>
              <p:tags r:id="rId4"/>
            </p:custDataLst>
          </p:nvPr>
        </p:nvSpPr>
        <p:spPr>
          <a:xfrm>
            <a:off x="695960" y="360045"/>
            <a:ext cx="10801985" cy="5817870"/>
          </a:xfrm>
          <a:prstGeom prst="rect">
            <a:avLst/>
          </a:prstGeom>
          <a:ln>
            <a:noFill/>
            <a:prstDash val="sysDash"/>
          </a:ln>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ClrTx/>
              <a:buSzTx/>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mn-lt"/>
                <a:ea typeface="+mn-lt"/>
                <a:cs typeface="微软雅黑" panose="020B0503020204020204" charset="-122"/>
                <a:sym typeface="+mn-ea"/>
              </a:defRPr>
            </a:lvl1pPr>
            <a:lvl2pPr marL="685800" marR="0" lvl="1" indent="-228600" fontAlgn="auto">
              <a:lnSpc>
                <a:spcPct val="120000"/>
              </a:lnSpc>
              <a:spcBef>
                <a:spcPts val="0"/>
              </a:spcBef>
              <a:spcAft>
                <a:spcPts val="600"/>
              </a:spcAft>
              <a:buFont typeface="Arial" panose="020B0604020202020204" pitchFamily="34" charset="0"/>
              <a:buChar char="●"/>
              <a:tabLst>
                <a:tab pos="1609725" algn="l"/>
              </a:tabLst>
              <a:defRPr kumimoji="0" sz="1600" b="0" i="0" u="none" strike="noStrike" cap="none" spc="150" normalizeH="0" baseline="0">
                <a:solidFill>
                  <a:schemeClr val="tx1">
                    <a:lumMod val="50000"/>
                    <a:lumOff val="50000"/>
                  </a:schemeClr>
                </a:solidFill>
                <a:uFillTx/>
                <a:latin typeface="+mn-ea"/>
                <a:ea typeface="+mn-ea"/>
              </a:defRPr>
            </a:lvl2pPr>
            <a:lvl3pPr marL="1143000" marR="0" lvl="2" indent="-228600" fontAlgn="auto">
              <a:lnSpc>
                <a:spcPct val="120000"/>
              </a:lnSpc>
              <a:spcBef>
                <a:spcPts val="0"/>
              </a:spcBef>
              <a:spcAft>
                <a:spcPts val="600"/>
              </a:spcAft>
              <a:buFont typeface="Arial" panose="020B0604020202020204" pitchFamily="34" charset="0"/>
              <a:buChar char="●"/>
              <a:defRPr kumimoji="0" sz="1600" b="0" i="0" u="none" strike="noStrike" cap="none" spc="150" normalizeH="0" baseline="0">
                <a:solidFill>
                  <a:schemeClr val="tx1">
                    <a:lumMod val="50000"/>
                    <a:lumOff val="50000"/>
                  </a:schemeClr>
                </a:solidFill>
                <a:uFillTx/>
                <a:latin typeface="+mn-ea"/>
                <a:ea typeface="+mn-ea"/>
              </a:defRPr>
            </a:lvl3pPr>
            <a:lvl4pPr marL="1600200" marR="0" lvl="3" indent="-228600" fontAlgn="auto">
              <a:lnSpc>
                <a:spcPct val="120000"/>
              </a:lnSpc>
              <a:spcBef>
                <a:spcPts val="0"/>
              </a:spcBef>
              <a:spcAft>
                <a:spcPts val="300"/>
              </a:spcAft>
              <a:buFont typeface="Wingdings" panose="05000000000000000000" charset="0"/>
              <a:buChar char=""/>
              <a:defRPr kumimoji="0" sz="1400" b="0" i="0" u="none" strike="noStrike" cap="none" spc="150" normalizeH="0" baseline="0">
                <a:solidFill>
                  <a:schemeClr val="tx1">
                    <a:lumMod val="50000"/>
                    <a:lumOff val="50000"/>
                  </a:schemeClr>
                </a:solidFill>
                <a:uFillTx/>
                <a:latin typeface="+mn-ea"/>
                <a:ea typeface="+mn-ea"/>
              </a:defRPr>
            </a:lvl4pPr>
            <a:lvl5pPr marL="2057400" marR="0" lvl="4" indent="-228600" fontAlgn="auto">
              <a:lnSpc>
                <a:spcPct val="120000"/>
              </a:lnSpc>
              <a:spcBef>
                <a:spcPts val="0"/>
              </a:spcBef>
              <a:spcAft>
                <a:spcPts val="300"/>
              </a:spcAft>
              <a:buFont typeface="Arial" panose="020B0604020202020204" pitchFamily="34" charset="0"/>
              <a:buChar char="•"/>
              <a:defRPr kumimoji="0" sz="1400" b="0" i="0" u="none" strike="noStrike" cap="none" spc="150" normalizeH="0" baseline="0">
                <a:solidFill>
                  <a:schemeClr val="tx1">
                    <a:lumMod val="50000"/>
                    <a:lumOff val="50000"/>
                  </a:schemeClr>
                </a:solidFill>
                <a:uFillTx/>
                <a:latin typeface="+mn-ea"/>
                <a:ea typeface="+mn-ea"/>
              </a:defRPr>
            </a:lvl5pPr>
            <a:lvl6pPr indent="0">
              <a:lnSpc>
                <a:spcPct val="90000"/>
              </a:lnSpc>
              <a:spcBef>
                <a:spcPts val="500"/>
              </a:spcBef>
              <a:buFont typeface="Arial" panose="020B0604020202020204" pitchFamily="34" charset="0"/>
              <a:buNone/>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dirty="0">
                <a:sym typeface="+mn-ea"/>
              </a:rPr>
              <a:t>单击此处编辑母版文本样式</a:t>
            </a:r>
            <a:endParaRPr dirty="0">
              <a:sym typeface="+mn-ea"/>
            </a:endParaRPr>
          </a:p>
          <a:p>
            <a:pPr lvl="1"/>
            <a:r>
              <a:rPr dirty="0" err="1">
                <a:sym typeface="+mn-ea"/>
              </a:rPr>
              <a:t>第二级</a:t>
            </a:r>
            <a:endParaRPr dirty="0">
              <a:sym typeface="+mn-ea"/>
            </a:endParaRPr>
          </a:p>
          <a:p>
            <a:pPr lvl="2"/>
            <a:r>
              <a:rPr dirty="0" err="1">
                <a:sym typeface="+mn-ea"/>
              </a:rPr>
              <a:t>第三级</a:t>
            </a:r>
            <a:endParaRPr dirty="0">
              <a:sym typeface="+mn-ea"/>
            </a:endParaRPr>
          </a:p>
          <a:p>
            <a:pPr lvl="3"/>
            <a:r>
              <a:rPr dirty="0" err="1">
                <a:sym typeface="+mn-ea"/>
              </a:rPr>
              <a:t>第四级</a:t>
            </a:r>
            <a:endParaRPr dirty="0">
              <a:sym typeface="+mn-ea"/>
            </a:endParaRPr>
          </a:p>
          <a:p>
            <a:pPr lvl="4"/>
            <a:r>
              <a:rPr dirty="0" err="1">
                <a:sym typeface="+mn-ea"/>
              </a:rPr>
              <a:t>第五级</a:t>
            </a:r>
            <a:endParaRPr dirty="0">
              <a:sym typeface="+mn-ea"/>
            </a:endParaRPr>
          </a:p>
        </p:txBody>
      </p:sp>
      <p:sp>
        <p:nvSpPr>
          <p:cNvPr id="4" name="日期占位符 3"/>
          <p:cNvSpPr>
            <a:spLocks noGrp="1"/>
          </p:cNvSpPr>
          <p:nvPr>
            <p:ph type="dt" sz="half" idx="10"/>
            <p:custDataLst>
              <p:tags r:id="rId5"/>
            </p:custDataLst>
          </p:nvPr>
        </p:nvSpPr>
        <p:spPr>
          <a:xfrm>
            <a:off x="838200" y="6356350"/>
            <a:ext cx="2743200" cy="365125"/>
          </a:xfrm>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custDataLst>
              <p:tags r:id="rId7"/>
            </p:custDataLst>
          </p:nvPr>
        </p:nvSpPr>
        <p:spPr>
          <a:xfrm>
            <a:off x="8610600" y="6356350"/>
            <a:ext cx="2743200" cy="365125"/>
          </a:xfrm>
        </p:spPr>
        <p:txBody>
          <a:bodyPr/>
          <a:lstStyle/>
          <a:p>
            <a:fld id="{565CE74E-AB26-4998-AD42-012C4C1AD076}" type="slidenum">
              <a:rPr lang="zh-CN" altLang="en-US" smtClean="0"/>
            </a:fld>
            <a:endParaRPr lang="zh-CN" altLang="en-US"/>
          </a:p>
        </p:txBody>
      </p:sp>
    </p:spTree>
  </p:cSld>
  <p:clrMapOvr>
    <a:masterClrMapping/>
  </p:clrMapOvr>
  <p:hf sldNum="0"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78"/>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dirty="0"/>
              <a:t>Click to edit Master title style</a:t>
            </a:r>
            <a:endParaRPr lang="en-US" noProof="0" dirty="0"/>
          </a:p>
        </p:txBody>
      </p:sp>
      <p:sp>
        <p:nvSpPr>
          <p:cNvPr id="5" name="Rectangle 4"/>
          <p:cNvSpPr/>
          <p:nvPr/>
        </p:nvSpPr>
        <p:spPr bwMode="auto">
          <a:xfrm>
            <a:off x="1886673"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dirty="0">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8"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dirty="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126603"/>
            <a:ext cx="12192001" cy="2731397"/>
          </a:xfrm>
          <a:prstGeom prst="rect">
            <a:avLst/>
          </a:prstGeom>
        </p:spPr>
      </p:pic>
      <p:sp>
        <p:nvSpPr>
          <p:cNvPr id="10" name="Title Placeholder 2"/>
          <p:cNvSpPr>
            <a:spLocks noGrp="1" noChangeArrowheads="1"/>
          </p:cNvSpPr>
          <p:nvPr>
            <p:ph type="title"/>
          </p:nvPr>
        </p:nvSpPr>
        <p:spPr bwMode="gray">
          <a:xfrm>
            <a:off x="1177473" y="2120597"/>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dirty="0"/>
              <a:t>Click to edit Master title style</a:t>
            </a:r>
            <a:endParaRPr lang="en-US" noProof="0" dirty="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2" y="548680"/>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dirty="0">
                <a:solidFill>
                  <a:srgbClr val="F36419"/>
                </a:solidFill>
                <a:ea typeface="微软雅黑" panose="020B0503020204020204" charset="-122"/>
                <a:cs typeface="微软雅黑" panose="020B0503020204020204" charset="-122"/>
              </a:rPr>
              <a:t>OUR MISSION</a:t>
            </a:r>
            <a:endParaRPr lang="en-US" sz="2000" b="1" dirty="0">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2"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dirty="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163" y="1623"/>
                        <a:ext cx="2158" cy="1619"/>
                      </a:xfrm>
                      <a:prstGeom prst="rect">
                        <a:avLst/>
                      </a:prstGeom>
                    </p:spPr>
                  </p:pic>
                </p:oleObj>
              </mc:Fallback>
            </mc:AlternateContent>
          </a:graphicData>
        </a:graphic>
      </p:graphicFrame>
      <p:pic>
        <p:nvPicPr>
          <p:cNvPr id="8" name="Picture 7"/>
          <p:cNvPicPr>
            <a:picLocks noChangeAspect="1"/>
          </p:cNvPicPr>
          <p:nvPr/>
        </p:nvPicPr>
        <p:blipFill>
          <a:blip r:embed="rId5"/>
          <a:srcRect/>
          <a:stretch>
            <a:fillRect/>
          </a:stretch>
        </p:blipFill>
        <p:spPr bwMode="ltGray">
          <a:xfrm>
            <a:off x="0" y="0"/>
            <a:ext cx="12192000" cy="6858000"/>
          </a:xfrm>
          <a:prstGeom prst="rect">
            <a:avLst/>
          </a:prstGeom>
        </p:spPr>
      </p:pic>
      <p:pic>
        <p:nvPicPr>
          <p:cNvPr id="19" name="Picture 18"/>
          <p:cNvPicPr>
            <a:picLocks noChangeAspect="1"/>
          </p:cNvPicPr>
          <p:nvPr/>
        </p:nvPicPr>
        <p:blipFill>
          <a:blip r:embed="rId6"/>
          <a:stretch>
            <a:fillRect/>
          </a:stretch>
        </p:blipFill>
        <p:spPr bwMode="ltGray">
          <a:xfrm>
            <a:off x="3671493" y="1824635"/>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showMasterSp="0" userDrawn="1">
  <p:cSld name="1_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bwMode="ltGray">
          <a:xfrm>
            <a:off x="0" y="0"/>
            <a:ext cx="12192000" cy="6858000"/>
          </a:xfrm>
          <a:prstGeom prst="rect">
            <a:avLst/>
          </a:prstGeom>
        </p:spPr>
      </p:pic>
      <p:sp>
        <p:nvSpPr>
          <p:cNvPr id="2" name="Rectangle 1"/>
          <p:cNvSpPr/>
          <p:nvPr/>
        </p:nvSpPr>
        <p:spPr>
          <a:xfrm>
            <a:off x="0" y="0"/>
            <a:ext cx="12192000" cy="68580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500">
              <a:solidFill>
                <a:schemeClr val="bg1"/>
              </a:solidFill>
              <a:ea typeface="微软雅黑" panose="020B0503020204020204" charset="-122"/>
              <a:cs typeface="微软雅黑" panose="020B0503020204020204" charset="-122"/>
            </a:endParaRPr>
          </a:p>
        </p:txBody>
      </p:sp>
      <p:graphicFrame>
        <p:nvGraphicFramePr>
          <p:cNvPr id="3" name="Object 2" hidden="1"/>
          <p:cNvGraphicFramePr>
            <a:graphicFrameLocks noChangeAspect="1"/>
          </p:cNvGraphicFramePr>
          <p:nvPr>
            <p:custDataLst>
              <p:tags r:id="rId3"/>
            </p:custDataLst>
          </p:nvPr>
        </p:nvGraphicFramePr>
        <p:xfrm>
          <a:off x="2163" y="1623"/>
          <a:ext cx="2158" cy="1619"/>
        </p:xfrm>
        <a:graphic>
          <a:graphicData uri="http://schemas.openxmlformats.org/presentationml/2006/ole">
            <mc:AlternateContent xmlns:mc="http://schemas.openxmlformats.org/markup-compatibility/2006">
              <mc:Choice xmlns:v="urn:schemas-microsoft-com:vml" Requires="v">
                <p:oleObj spid="_x0000_s4"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163" y="1623"/>
                        <a:ext cx="2158" cy="1619"/>
                      </a:xfrm>
                      <a:prstGeom prst="rect">
                        <a:avLst/>
                      </a:prstGeom>
                    </p:spPr>
                  </p:pic>
                </p:oleObj>
              </mc:Fallback>
            </mc:AlternateContent>
          </a:graphicData>
        </a:graphic>
      </p:graphicFrame>
      <p:pic>
        <p:nvPicPr>
          <p:cNvPr id="19" name="Picture 18"/>
          <p:cNvPicPr>
            <a:picLocks noChangeAspect="1"/>
          </p:cNvPicPr>
          <p:nvPr/>
        </p:nvPicPr>
        <p:blipFill>
          <a:blip r:embed="rId6"/>
          <a:stretch>
            <a:fillRect/>
          </a:stretch>
        </p:blipFill>
        <p:spPr bwMode="ltGray">
          <a:xfrm>
            <a:off x="3671493" y="2257136"/>
            <a:ext cx="4849015" cy="1604366"/>
          </a:xfrm>
          <a:prstGeom prst="rect">
            <a:avLst/>
          </a:prstGeom>
        </p:spPr>
      </p:pic>
      <p:sp>
        <p:nvSpPr>
          <p:cNvPr id="10" name="Document type" hidden="1"/>
          <p:cNvSpPr txBox="1">
            <a:spLocks noChangeArrowheads="1"/>
          </p:cNvSpPr>
          <p:nvPr/>
        </p:nvSpPr>
        <p:spPr bwMode="auto">
          <a:xfrm>
            <a:off x="810228" y="6115137"/>
            <a:ext cx="10571545" cy="30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000" b="1">
                <a:solidFill>
                  <a:schemeClr val="accent1"/>
                </a:solidFill>
                <a:ea typeface="微软雅黑" panose="020B0503020204020204" charset="-122"/>
                <a:cs typeface="微软雅黑" panose="020B0503020204020204" charset="-122"/>
              </a:rPr>
              <a:t>Document type | Date</a:t>
            </a:r>
            <a:endParaRPr lang="en-US" sz="2000" b="1">
              <a:solidFill>
                <a:schemeClr val="accent1"/>
              </a:solidFill>
              <a:ea typeface="微软雅黑" panose="020B0503020204020204" charset="-122"/>
              <a:cs typeface="微软雅黑" panose="020B0503020204020204" charset="-122"/>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000" b="1"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endParaRPr lang="en-US"/>
          </a:p>
        </p:txBody>
      </p:sp>
      <p:pic>
        <p:nvPicPr>
          <p:cNvPr id="8" name="Picture 7"/>
          <p:cNvPicPr>
            <a:picLocks noChangeAspect="1"/>
          </p:cNvPicPr>
          <p:nvPr/>
        </p:nvPicPr>
        <p:blipFill rotWithShape="1">
          <a:blip r:embed="rId6"/>
          <a:srcRect b="24180"/>
          <a:stretch>
            <a:fillRect/>
          </a:stretch>
        </p:blipFill>
        <p:spPr bwMode="ltGray">
          <a:xfrm>
            <a:off x="0" y="5379485"/>
            <a:ext cx="10502900" cy="1478068"/>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cxnSp>
        <p:nvCxnSpPr>
          <p:cNvPr id="7" name="Straight Connector 6"/>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470789" y="360857"/>
            <a:ext cx="836309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showMasterSp="0"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5" name="Picture 14"/>
          <p:cNvPicPr>
            <a:picLocks noChangeAspect="1"/>
          </p:cNvPicPr>
          <p:nvPr/>
        </p:nvPicPr>
        <p:blipFill>
          <a:blip r:embed="rId6">
            <a:alphaModFix amt="50000"/>
          </a:blip>
          <a:stretch>
            <a:fillRect/>
          </a:stretch>
        </p:blipFill>
        <p:spPr bwMode="ltGray">
          <a:xfrm>
            <a:off x="0" y="0"/>
            <a:ext cx="12192000" cy="6858000"/>
          </a:xfrm>
          <a:prstGeom prst="rect">
            <a:avLst/>
          </a:prstGeom>
        </p:spPr>
      </p:pic>
      <p:sp>
        <p:nvSpPr>
          <p:cNvPr id="16" name="Rectangle 15"/>
          <p:cNvSpPr/>
          <p:nvPr/>
        </p:nvSpPr>
        <p:spPr bwMode="auto">
          <a:xfrm>
            <a:off x="0" y="0"/>
            <a:ext cx="12192000" cy="68580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bwMode="ltGray">
          <a:xfrm>
            <a:off x="10036083" y="5949281"/>
            <a:ext cx="1880564" cy="622211"/>
          </a:xfrm>
          <a:prstGeom prst="rect">
            <a:avLst/>
          </a:prstGeom>
        </p:spPr>
      </p:pic>
      <p:sp>
        <p:nvSpPr>
          <p:cNvPr id="17" name="Rectangle 16"/>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sp>
        <p:nvSpPr>
          <p:cNvPr id="24"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4165" b="0" cap="none" noProof="0" dirty="0">
                <a:solidFill>
                  <a:schemeClr val="bg1"/>
                </a:solidFill>
              </a:defRPr>
            </a:lvl1pPr>
          </a:lstStyle>
          <a:p>
            <a:pPr lvl="0"/>
            <a:r>
              <a:rPr lang="en-US" altLang="zh-CN"/>
              <a:t>Click to edit Master title style</a:t>
            </a:r>
            <a:endParaRPr lang="en-US" noProof="0"/>
          </a:p>
        </p:txBody>
      </p:sp>
      <p:sp>
        <p:nvSpPr>
          <p:cNvPr id="10"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bg1"/>
                </a:solidFill>
                <a:latin typeface="+mn-lt"/>
                <a:ea typeface="微软雅黑" panose="020B0503020204020204" charset="-122"/>
                <a:cs typeface="Arial" panose="020B0604020202020204" pitchFamily="34" charset="0"/>
              </a:rPr>
            </a:fld>
            <a:endParaRPr lang="en-US" sz="1000" b="0" smtClean="0">
              <a:solidFill>
                <a:schemeClr val="bg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showMasterSp="0"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4" name="Rectangle 3"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416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2" name="Picture 11"/>
          <p:cNvPicPr>
            <a:picLocks noChangeAspect="1"/>
          </p:cNvPicPr>
          <p:nvPr/>
        </p:nvPicPr>
        <p:blipFill rotWithShape="1">
          <a:blip r:embed="rId6"/>
          <a:srcRect b="24180"/>
          <a:stretch>
            <a:fillRect/>
          </a:stretch>
        </p:blipFill>
        <p:spPr bwMode="ltGray">
          <a:xfrm>
            <a:off x="0" y="5379485"/>
            <a:ext cx="10502900" cy="1478068"/>
          </a:xfrm>
          <a:prstGeom prst="rect">
            <a:avLst/>
          </a:prstGeom>
        </p:spPr>
      </p:pic>
      <p:sp>
        <p:nvSpPr>
          <p:cNvPr id="10" name="Title Placeholder 2"/>
          <p:cNvSpPr>
            <a:spLocks noGrp="1" noChangeArrowheads="1"/>
          </p:cNvSpPr>
          <p:nvPr>
            <p:ph type="title"/>
          </p:nvPr>
        </p:nvSpPr>
        <p:spPr bwMode="gray">
          <a:xfrm>
            <a:off x="2166763" y="2778880"/>
            <a:ext cx="9078630" cy="64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4165" b="0" cap="none" baseline="0"/>
            </a:lvl1pPr>
          </a:lstStyle>
          <a:p>
            <a:pPr lvl="0"/>
            <a:r>
              <a:rPr lang="en-US" altLang="zh-CN"/>
              <a:t>Click to edit Master title style</a:t>
            </a:r>
            <a:endParaRPr lang="en-US" noProof="0"/>
          </a:p>
        </p:txBody>
      </p:sp>
      <p:sp>
        <p:nvSpPr>
          <p:cNvPr id="5" name="Rectangle 4"/>
          <p:cNvSpPr/>
          <p:nvPr/>
        </p:nvSpPr>
        <p:spPr bwMode="auto">
          <a:xfrm>
            <a:off x="1886675" y="2527978"/>
            <a:ext cx="68861" cy="1143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76199" tIns="14999" rIns="76199" bIns="14999" numCol="1" rtlCol="0" anchor="ctr" anchorCtr="0" compatLnSpc="1"/>
          <a:lstStyle/>
          <a:p>
            <a:pPr algn="ctr"/>
            <a:endParaRPr lang="en-US" sz="1500" b="1">
              <a:solidFill>
                <a:schemeClr val="bg1"/>
              </a:solidFill>
              <a:ea typeface="微软雅黑" panose="020B0503020204020204" charset="-122"/>
              <a:cs typeface="微软雅黑" panose="020B0503020204020204" charset="-122"/>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5"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showMasterSp="0"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88"/>
          <a:ext cx="2116" cy="1587"/>
        </p:xfrm>
        <a:graphic>
          <a:graphicData uri="http://schemas.openxmlformats.org/presentationml/2006/ole">
            <mc:AlternateContent xmlns:mc="http://schemas.openxmlformats.org/markup-compatibility/2006">
              <mc:Choice xmlns:v="urn:schemas-microsoft-com:vml" Requires="v">
                <p:oleObj spid="_x0000_s2"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119" y="1588"/>
                        <a:ext cx="2116" cy="1587"/>
                      </a:xfrm>
                      <a:prstGeom prst="rect">
                        <a:avLst/>
                      </a:prstGeom>
                    </p:spPr>
                  </p:pic>
                </p:oleObj>
              </mc:Fallback>
            </mc:AlternateContent>
          </a:graphicData>
        </a:graphic>
      </p:graphicFrame>
      <p:sp>
        <p:nvSpPr>
          <p:cNvPr id="5" name="Rectangle 4" hidden="1"/>
          <p:cNvSpPr/>
          <p:nvPr>
            <p:custDataLst>
              <p:tags r:id="rId5"/>
            </p:custDataLst>
          </p:nvPr>
        </p:nvSpPr>
        <p:spPr>
          <a:xfrm>
            <a:off x="0" y="0"/>
            <a:ext cx="132292" cy="13229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335" b="0" i="0" baseline="0">
              <a:solidFill>
                <a:schemeClr val="bg1"/>
              </a:solidFill>
              <a:ea typeface="微软雅黑" panose="020B0503020204020204" charset="-122"/>
              <a:cs typeface="微软雅黑" panose="020B0503020204020204" charset="-122"/>
              <a:sym typeface="Franklin Gothic Medium Cond" panose="020B0606030402020204" pitchFamily="34" charset="0"/>
            </a:endParaRPr>
          </a:p>
        </p:txBody>
      </p:sp>
      <p:pic>
        <p:nvPicPr>
          <p:cNvPr id="18" name="Picture 17"/>
          <p:cNvPicPr>
            <a:picLocks noChangeAspect="1"/>
          </p:cNvPicPr>
          <p:nvPr/>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126603"/>
            <a:ext cx="12192001" cy="2731397"/>
          </a:xfrm>
          <a:prstGeom prst="rect">
            <a:avLst/>
          </a:prstGeom>
        </p:spPr>
      </p:pic>
      <p:sp>
        <p:nvSpPr>
          <p:cNvPr id="10" name="Title Placeholder 2"/>
          <p:cNvSpPr>
            <a:spLocks noGrp="1" noChangeArrowheads="1"/>
          </p:cNvSpPr>
          <p:nvPr>
            <p:ph type="title"/>
          </p:nvPr>
        </p:nvSpPr>
        <p:spPr bwMode="gray">
          <a:xfrm>
            <a:off x="1177473" y="2120598"/>
            <a:ext cx="9361040"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335" b="0" cap="none" baseline="0"/>
            </a:lvl1pPr>
          </a:lstStyle>
          <a:p>
            <a:pPr lvl="0"/>
            <a:r>
              <a:rPr lang="en-US" altLang="zh-CN"/>
              <a:t>Click to edit Master title style</a:t>
            </a:r>
            <a:endParaRPr lang="en-US" noProof="0"/>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4733" y="548681"/>
            <a:ext cx="2357727" cy="780087"/>
          </a:xfrm>
          <a:prstGeom prst="rect">
            <a:avLst/>
          </a:prstGeom>
        </p:spPr>
      </p:pic>
      <p:sp>
        <p:nvSpPr>
          <p:cNvPr id="13" name="矩形 2"/>
          <p:cNvSpPr/>
          <p:nvPr/>
        </p:nvSpPr>
        <p:spPr bwMode="auto">
          <a:xfrm>
            <a:off x="4804732" y="1618484"/>
            <a:ext cx="2121740" cy="490732"/>
          </a:xfrm>
          <a:prstGeom prst="rect">
            <a:avLst/>
          </a:prstGeom>
          <a:noFill/>
          <a:ln w="9525" cap="flat" cmpd="sng" algn="ctr">
            <a:noFill/>
            <a:prstDash val="solid"/>
            <a:round/>
            <a:headEnd type="none" w="med" len="med"/>
            <a:tailEnd type="none" w="med" len="med"/>
          </a:ln>
          <a:effectLst/>
        </p:spPr>
        <p:txBody>
          <a:bodyPr vert="horz" wrap="square" lIns="91439" tIns="17999" rIns="91439" bIns="17999" numCol="1" rtlCol="0" anchor="ctr" anchorCtr="0" compatLnSpc="1"/>
          <a:lstStyle/>
          <a:p>
            <a:pPr algn="ctr"/>
            <a:r>
              <a:rPr lang="en-US" sz="2000" b="1">
                <a:solidFill>
                  <a:srgbClr val="F36419"/>
                </a:solidFill>
                <a:ea typeface="微软雅黑" panose="020B0503020204020204" charset="-122"/>
                <a:cs typeface="微软雅黑" panose="020B0503020204020204" charset="-122"/>
              </a:rPr>
              <a:t>OUR MISSION</a:t>
            </a:r>
            <a:endParaRPr lang="en-US" sz="2000" b="1">
              <a:solidFill>
                <a:srgbClr val="F36419"/>
              </a:solidFill>
              <a:ea typeface="微软雅黑" panose="020B0503020204020204" charset="-122"/>
              <a:cs typeface="微软雅黑" panose="020B0503020204020204" charset="-122"/>
            </a:endParaRPr>
          </a:p>
        </p:txBody>
      </p:sp>
      <p:grpSp>
        <p:nvGrpSpPr>
          <p:cNvPr id="4" name="Group 3"/>
          <p:cNvGrpSpPr/>
          <p:nvPr/>
        </p:nvGrpSpPr>
        <p:grpSpPr>
          <a:xfrm>
            <a:off x="1177473" y="1863850"/>
            <a:ext cx="9361040"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p:nvSpPr>
        <p:spPr bwMode="auto">
          <a:xfrm>
            <a:off x="6063934" y="6507782"/>
            <a:ext cx="64135" cy="15367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000" b="0" smtClean="0">
                <a:solidFill>
                  <a:schemeClr val="tx1"/>
                </a:solidFill>
                <a:latin typeface="+mn-lt"/>
                <a:ea typeface="微软雅黑" panose="020B0503020204020204" charset="-122"/>
                <a:cs typeface="Arial" panose="020B0604020202020204" pitchFamily="34" charset="0"/>
              </a:rPr>
            </a:fld>
            <a:endParaRPr lang="en-US" sz="1000" b="0" smtClean="0">
              <a:solidFill>
                <a:schemeClr val="tx1"/>
              </a:solidFill>
              <a:latin typeface="+mn-lt"/>
              <a:ea typeface="微软雅黑" panose="020B0503020204020204" charset="-122"/>
              <a:cs typeface="Arial" panose="020B0604020202020204" pitchFamily="34" charset="0"/>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lvl1pPr>
              <a:defRPr>
                <a:ea typeface="微软雅黑" panose="020B0503020204020204" charset="-122"/>
                <a:cs typeface="微软雅黑" panose="020B0503020204020204" charset="-122"/>
              </a:defRPr>
            </a:lvl1pPr>
          </a:lstStyle>
          <a:p>
            <a:fld id="{86CB4B4D-7CA3-9044-876B-883B54F8677D}" type="slidenum">
              <a:rPr/>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tags" Target="../tags/tag74.xml"/><Relationship Id="rId20" Type="http://schemas.openxmlformats.org/officeDocument/2006/relationships/tags" Target="../tags/tag73.xml"/><Relationship Id="rId2" Type="http://schemas.openxmlformats.org/officeDocument/2006/relationships/slideLayout" Target="../slideLayouts/slideLayout2.xml"/><Relationship Id="rId19" Type="http://schemas.openxmlformats.org/officeDocument/2006/relationships/tags" Target="../tags/tag72.xml"/><Relationship Id="rId18" Type="http://schemas.openxmlformats.org/officeDocument/2006/relationships/tags" Target="../tags/tag71.xml"/><Relationship Id="rId17" Type="http://schemas.openxmlformats.org/officeDocument/2006/relationships/tags" Target="../tags/tag70.xml"/><Relationship Id="rId16" Type="http://schemas.openxmlformats.org/officeDocument/2006/relationships/tags" Target="../tags/tag69.xml"/><Relationship Id="rId15" Type="http://schemas.openxmlformats.org/officeDocument/2006/relationships/tags" Target="../tags/tag68.xml"/><Relationship Id="rId14" Type="http://schemas.openxmlformats.org/officeDocument/2006/relationships/tags" Target="../tags/tag67.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00.xml"/><Relationship Id="rId8" Type="http://schemas.openxmlformats.org/officeDocument/2006/relationships/slideLayout" Target="../slideLayouts/slideLayout99.xml"/><Relationship Id="rId7" Type="http://schemas.openxmlformats.org/officeDocument/2006/relationships/slideLayout" Target="../slideLayouts/slideLayout98.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9" Type="http://schemas.openxmlformats.org/officeDocument/2006/relationships/theme" Target="../theme/theme10.xml"/><Relationship Id="rId48" Type="http://schemas.openxmlformats.org/officeDocument/2006/relationships/vmlDrawing" Target="../drawings/vmlDrawing64.vml"/><Relationship Id="rId47" Type="http://schemas.openxmlformats.org/officeDocument/2006/relationships/tags" Target="../tags/tag409.xml"/><Relationship Id="rId46" Type="http://schemas.openxmlformats.org/officeDocument/2006/relationships/tags" Target="../tags/tag408.xml"/><Relationship Id="rId45" Type="http://schemas.openxmlformats.org/officeDocument/2006/relationships/tags" Target="../tags/tag407.xml"/><Relationship Id="rId44" Type="http://schemas.openxmlformats.org/officeDocument/2006/relationships/tags" Target="../tags/tag406.xml"/><Relationship Id="rId43" Type="http://schemas.openxmlformats.org/officeDocument/2006/relationships/tags" Target="../tags/tag405.xml"/><Relationship Id="rId42" Type="http://schemas.openxmlformats.org/officeDocument/2006/relationships/tags" Target="../tags/tag404.xml"/><Relationship Id="rId41" Type="http://schemas.openxmlformats.org/officeDocument/2006/relationships/tags" Target="../tags/tag403.xml"/><Relationship Id="rId40" Type="http://schemas.openxmlformats.org/officeDocument/2006/relationships/tags" Target="../tags/tag402.xml"/><Relationship Id="rId4" Type="http://schemas.openxmlformats.org/officeDocument/2006/relationships/slideLayout" Target="../slideLayouts/slideLayout95.xml"/><Relationship Id="rId39" Type="http://schemas.openxmlformats.org/officeDocument/2006/relationships/tags" Target="../tags/tag401.xml"/><Relationship Id="rId38" Type="http://schemas.openxmlformats.org/officeDocument/2006/relationships/tags" Target="../tags/tag400.xml"/><Relationship Id="rId37" Type="http://schemas.openxmlformats.org/officeDocument/2006/relationships/tags" Target="../tags/tag399.xml"/><Relationship Id="rId36" Type="http://schemas.openxmlformats.org/officeDocument/2006/relationships/tags" Target="../tags/tag398.xml"/><Relationship Id="rId35" Type="http://schemas.openxmlformats.org/officeDocument/2006/relationships/tags" Target="../tags/tag397.xml"/><Relationship Id="rId34" Type="http://schemas.openxmlformats.org/officeDocument/2006/relationships/tags" Target="../tags/tag396.xml"/><Relationship Id="rId33" Type="http://schemas.openxmlformats.org/officeDocument/2006/relationships/tags" Target="../tags/tag395.xml"/><Relationship Id="rId32" Type="http://schemas.openxmlformats.org/officeDocument/2006/relationships/tags" Target="../tags/tag394.xml"/><Relationship Id="rId31" Type="http://schemas.openxmlformats.org/officeDocument/2006/relationships/tags" Target="../tags/tag393.xml"/><Relationship Id="rId30" Type="http://schemas.openxmlformats.org/officeDocument/2006/relationships/tags" Target="../tags/tag392.xml"/><Relationship Id="rId3" Type="http://schemas.openxmlformats.org/officeDocument/2006/relationships/slideLayout" Target="../slideLayouts/slideLayout94.xml"/><Relationship Id="rId29" Type="http://schemas.openxmlformats.org/officeDocument/2006/relationships/tags" Target="../tags/tag391.xml"/><Relationship Id="rId28" Type="http://schemas.openxmlformats.org/officeDocument/2006/relationships/tags" Target="../tags/tag390.xml"/><Relationship Id="rId27" Type="http://schemas.openxmlformats.org/officeDocument/2006/relationships/tags" Target="../tags/tag389.xml"/><Relationship Id="rId26" Type="http://schemas.openxmlformats.org/officeDocument/2006/relationships/tags" Target="../tags/tag388.xml"/><Relationship Id="rId25" Type="http://schemas.openxmlformats.org/officeDocument/2006/relationships/tags" Target="../tags/tag387.xml"/><Relationship Id="rId24" Type="http://schemas.openxmlformats.org/officeDocument/2006/relationships/tags" Target="../tags/tag386.xml"/><Relationship Id="rId23" Type="http://schemas.openxmlformats.org/officeDocument/2006/relationships/tags" Target="../tags/tag385.xml"/><Relationship Id="rId22" Type="http://schemas.openxmlformats.org/officeDocument/2006/relationships/tags" Target="../tags/tag384.xml"/><Relationship Id="rId21" Type="http://schemas.openxmlformats.org/officeDocument/2006/relationships/tags" Target="../tags/tag383.xml"/><Relationship Id="rId20" Type="http://schemas.openxmlformats.org/officeDocument/2006/relationships/tags" Target="../tags/tag382.xml"/><Relationship Id="rId2" Type="http://schemas.openxmlformats.org/officeDocument/2006/relationships/slideLayout" Target="../slideLayouts/slideLayout93.xml"/><Relationship Id="rId19" Type="http://schemas.openxmlformats.org/officeDocument/2006/relationships/tags" Target="../tags/tag381.xml"/><Relationship Id="rId18" Type="http://schemas.openxmlformats.org/officeDocument/2006/relationships/tags" Target="../tags/tag380.xml"/><Relationship Id="rId17" Type="http://schemas.openxmlformats.org/officeDocument/2006/relationships/image" Target="../media/image13.png"/><Relationship Id="rId16" Type="http://schemas.openxmlformats.org/officeDocument/2006/relationships/image" Target="../media/image12.jpeg"/><Relationship Id="rId15" Type="http://schemas.openxmlformats.org/officeDocument/2006/relationships/image" Target="../media/image15.emf"/><Relationship Id="rId14" Type="http://schemas.openxmlformats.org/officeDocument/2006/relationships/oleObject" Target="../embeddings/oleObject64.bin"/><Relationship Id="rId13" Type="http://schemas.openxmlformats.org/officeDocument/2006/relationships/tags" Target="../tags/tag379.xml"/><Relationship Id="rId12" Type="http://schemas.openxmlformats.org/officeDocument/2006/relationships/slideLayout" Target="../slideLayouts/slideLayout103.xml"/><Relationship Id="rId11" Type="http://schemas.openxmlformats.org/officeDocument/2006/relationships/slideLayout" Target="../slideLayouts/slideLayout102.xml"/><Relationship Id="rId10" Type="http://schemas.openxmlformats.org/officeDocument/2006/relationships/slideLayout" Target="../slideLayouts/slideLayout101.xml"/><Relationship Id="rId1" Type="http://schemas.openxmlformats.org/officeDocument/2006/relationships/slideLayout" Target="../slideLayouts/slideLayout92.xml"/></Relationships>
</file>

<file path=ppt/slideMasters/_rels/slideMaster11.xml.rels><?xml version="1.0" encoding="UTF-8" standalone="yes"?>
<Relationships xmlns="http://schemas.openxmlformats.org/package/2006/relationships"><Relationship Id="rId9" Type="http://schemas.openxmlformats.org/officeDocument/2006/relationships/oleObject" Target="../embeddings/oleObject72.bin"/><Relationship Id="rId8" Type="http://schemas.openxmlformats.org/officeDocument/2006/relationships/tags" Target="../tags/tag421.xml"/><Relationship Id="rId7" Type="http://schemas.openxmlformats.org/officeDocument/2006/relationships/slideLayout" Target="../slideLayouts/slideLayout110.xml"/><Relationship Id="rId6" Type="http://schemas.openxmlformats.org/officeDocument/2006/relationships/slideLayout" Target="../slideLayouts/slideLayout109.xml"/><Relationship Id="rId5" Type="http://schemas.openxmlformats.org/officeDocument/2006/relationships/slideLayout" Target="../slideLayouts/slideLayout108.xml"/><Relationship Id="rId44" Type="http://schemas.openxmlformats.org/officeDocument/2006/relationships/theme" Target="../theme/theme11.xml"/><Relationship Id="rId43" Type="http://schemas.openxmlformats.org/officeDocument/2006/relationships/vmlDrawing" Target="../drawings/vmlDrawing72.vml"/><Relationship Id="rId42" Type="http://schemas.openxmlformats.org/officeDocument/2006/relationships/tags" Target="../tags/tag451.xml"/><Relationship Id="rId41" Type="http://schemas.openxmlformats.org/officeDocument/2006/relationships/tags" Target="../tags/tag450.xml"/><Relationship Id="rId40" Type="http://schemas.openxmlformats.org/officeDocument/2006/relationships/tags" Target="../tags/tag449.xml"/><Relationship Id="rId4" Type="http://schemas.openxmlformats.org/officeDocument/2006/relationships/slideLayout" Target="../slideLayouts/slideLayout107.xml"/><Relationship Id="rId39" Type="http://schemas.openxmlformats.org/officeDocument/2006/relationships/tags" Target="../tags/tag448.xml"/><Relationship Id="rId38" Type="http://schemas.openxmlformats.org/officeDocument/2006/relationships/tags" Target="../tags/tag447.xml"/><Relationship Id="rId37" Type="http://schemas.openxmlformats.org/officeDocument/2006/relationships/tags" Target="../tags/tag446.xml"/><Relationship Id="rId36" Type="http://schemas.openxmlformats.org/officeDocument/2006/relationships/tags" Target="../tags/tag445.xml"/><Relationship Id="rId35" Type="http://schemas.openxmlformats.org/officeDocument/2006/relationships/tags" Target="../tags/tag444.xml"/><Relationship Id="rId34" Type="http://schemas.openxmlformats.org/officeDocument/2006/relationships/tags" Target="../tags/tag443.xml"/><Relationship Id="rId33" Type="http://schemas.openxmlformats.org/officeDocument/2006/relationships/tags" Target="../tags/tag442.xml"/><Relationship Id="rId32" Type="http://schemas.openxmlformats.org/officeDocument/2006/relationships/tags" Target="../tags/tag441.xml"/><Relationship Id="rId31" Type="http://schemas.openxmlformats.org/officeDocument/2006/relationships/tags" Target="../tags/tag440.xml"/><Relationship Id="rId30" Type="http://schemas.openxmlformats.org/officeDocument/2006/relationships/tags" Target="../tags/tag439.xml"/><Relationship Id="rId3" Type="http://schemas.openxmlformats.org/officeDocument/2006/relationships/slideLayout" Target="../slideLayouts/slideLayout106.xml"/><Relationship Id="rId29" Type="http://schemas.openxmlformats.org/officeDocument/2006/relationships/tags" Target="../tags/tag438.xml"/><Relationship Id="rId28" Type="http://schemas.openxmlformats.org/officeDocument/2006/relationships/tags" Target="../tags/tag437.xml"/><Relationship Id="rId27" Type="http://schemas.openxmlformats.org/officeDocument/2006/relationships/tags" Target="../tags/tag436.xml"/><Relationship Id="rId26" Type="http://schemas.openxmlformats.org/officeDocument/2006/relationships/tags" Target="../tags/tag435.xml"/><Relationship Id="rId25" Type="http://schemas.openxmlformats.org/officeDocument/2006/relationships/tags" Target="../tags/tag434.xml"/><Relationship Id="rId24" Type="http://schemas.openxmlformats.org/officeDocument/2006/relationships/tags" Target="../tags/tag433.xml"/><Relationship Id="rId23" Type="http://schemas.openxmlformats.org/officeDocument/2006/relationships/tags" Target="../tags/tag432.xml"/><Relationship Id="rId22" Type="http://schemas.openxmlformats.org/officeDocument/2006/relationships/tags" Target="../tags/tag431.xml"/><Relationship Id="rId21" Type="http://schemas.openxmlformats.org/officeDocument/2006/relationships/tags" Target="../tags/tag430.xml"/><Relationship Id="rId20" Type="http://schemas.openxmlformats.org/officeDocument/2006/relationships/tags" Target="../tags/tag429.xml"/><Relationship Id="rId2" Type="http://schemas.openxmlformats.org/officeDocument/2006/relationships/slideLayout" Target="../slideLayouts/slideLayout105.xml"/><Relationship Id="rId19" Type="http://schemas.openxmlformats.org/officeDocument/2006/relationships/tags" Target="../tags/tag428.xml"/><Relationship Id="rId18" Type="http://schemas.openxmlformats.org/officeDocument/2006/relationships/tags" Target="../tags/tag427.xml"/><Relationship Id="rId17" Type="http://schemas.openxmlformats.org/officeDocument/2006/relationships/tags" Target="../tags/tag426.xml"/><Relationship Id="rId16" Type="http://schemas.openxmlformats.org/officeDocument/2006/relationships/tags" Target="../tags/tag425.xml"/><Relationship Id="rId15" Type="http://schemas.openxmlformats.org/officeDocument/2006/relationships/tags" Target="../tags/tag424.xml"/><Relationship Id="rId14" Type="http://schemas.openxmlformats.org/officeDocument/2006/relationships/tags" Target="../tags/tag423.xml"/><Relationship Id="rId13" Type="http://schemas.openxmlformats.org/officeDocument/2006/relationships/tags" Target="../tags/tag422.xml"/><Relationship Id="rId12" Type="http://schemas.openxmlformats.org/officeDocument/2006/relationships/image" Target="../media/image13.png"/><Relationship Id="rId11" Type="http://schemas.openxmlformats.org/officeDocument/2006/relationships/image" Target="../media/image12.jpeg"/><Relationship Id="rId10" Type="http://schemas.openxmlformats.org/officeDocument/2006/relationships/image" Target="../media/image15.emf"/><Relationship Id="rId1" Type="http://schemas.openxmlformats.org/officeDocument/2006/relationships/slideLayout" Target="../slideLayouts/slideLayout104.xml"/></Relationships>
</file>

<file path=ppt/slideMasters/_rels/slideMaster12.xml.rels><?xml version="1.0" encoding="UTF-8" standalone="yes"?>
<Relationships xmlns="http://schemas.openxmlformats.org/package/2006/relationships"><Relationship Id="rId9" Type="http://schemas.openxmlformats.org/officeDocument/2006/relationships/oleObject" Target="../embeddings/oleObject79.bin"/><Relationship Id="rId8" Type="http://schemas.openxmlformats.org/officeDocument/2006/relationships/tags" Target="../tags/tag461.xml"/><Relationship Id="rId7" Type="http://schemas.openxmlformats.org/officeDocument/2006/relationships/slideLayout" Target="../slideLayouts/slideLayout117.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4" Type="http://schemas.openxmlformats.org/officeDocument/2006/relationships/theme" Target="../theme/theme12.xml"/><Relationship Id="rId43" Type="http://schemas.openxmlformats.org/officeDocument/2006/relationships/vmlDrawing" Target="../drawings/vmlDrawing79.vml"/><Relationship Id="rId42" Type="http://schemas.openxmlformats.org/officeDocument/2006/relationships/tags" Target="../tags/tag491.xml"/><Relationship Id="rId41" Type="http://schemas.openxmlformats.org/officeDocument/2006/relationships/tags" Target="../tags/tag490.xml"/><Relationship Id="rId40" Type="http://schemas.openxmlformats.org/officeDocument/2006/relationships/tags" Target="../tags/tag489.xml"/><Relationship Id="rId4" Type="http://schemas.openxmlformats.org/officeDocument/2006/relationships/slideLayout" Target="../slideLayouts/slideLayout114.xml"/><Relationship Id="rId39" Type="http://schemas.openxmlformats.org/officeDocument/2006/relationships/tags" Target="../tags/tag488.xml"/><Relationship Id="rId38" Type="http://schemas.openxmlformats.org/officeDocument/2006/relationships/tags" Target="../tags/tag487.xml"/><Relationship Id="rId37" Type="http://schemas.openxmlformats.org/officeDocument/2006/relationships/tags" Target="../tags/tag486.xml"/><Relationship Id="rId36" Type="http://schemas.openxmlformats.org/officeDocument/2006/relationships/tags" Target="../tags/tag485.xml"/><Relationship Id="rId35" Type="http://schemas.openxmlformats.org/officeDocument/2006/relationships/tags" Target="../tags/tag484.xml"/><Relationship Id="rId34" Type="http://schemas.openxmlformats.org/officeDocument/2006/relationships/tags" Target="../tags/tag483.xml"/><Relationship Id="rId33" Type="http://schemas.openxmlformats.org/officeDocument/2006/relationships/tags" Target="../tags/tag482.xml"/><Relationship Id="rId32" Type="http://schemas.openxmlformats.org/officeDocument/2006/relationships/tags" Target="../tags/tag481.xml"/><Relationship Id="rId31" Type="http://schemas.openxmlformats.org/officeDocument/2006/relationships/tags" Target="../tags/tag480.xml"/><Relationship Id="rId30" Type="http://schemas.openxmlformats.org/officeDocument/2006/relationships/tags" Target="../tags/tag479.xml"/><Relationship Id="rId3" Type="http://schemas.openxmlformats.org/officeDocument/2006/relationships/slideLayout" Target="../slideLayouts/slideLayout113.xml"/><Relationship Id="rId29" Type="http://schemas.openxmlformats.org/officeDocument/2006/relationships/tags" Target="../tags/tag478.xml"/><Relationship Id="rId28" Type="http://schemas.openxmlformats.org/officeDocument/2006/relationships/tags" Target="../tags/tag477.xml"/><Relationship Id="rId27" Type="http://schemas.openxmlformats.org/officeDocument/2006/relationships/tags" Target="../tags/tag476.xml"/><Relationship Id="rId26" Type="http://schemas.openxmlformats.org/officeDocument/2006/relationships/tags" Target="../tags/tag475.xml"/><Relationship Id="rId25" Type="http://schemas.openxmlformats.org/officeDocument/2006/relationships/tags" Target="../tags/tag474.xml"/><Relationship Id="rId24" Type="http://schemas.openxmlformats.org/officeDocument/2006/relationships/tags" Target="../tags/tag473.xml"/><Relationship Id="rId23" Type="http://schemas.openxmlformats.org/officeDocument/2006/relationships/tags" Target="../tags/tag472.xml"/><Relationship Id="rId22" Type="http://schemas.openxmlformats.org/officeDocument/2006/relationships/tags" Target="../tags/tag471.xml"/><Relationship Id="rId21" Type="http://schemas.openxmlformats.org/officeDocument/2006/relationships/tags" Target="../tags/tag470.xml"/><Relationship Id="rId20" Type="http://schemas.openxmlformats.org/officeDocument/2006/relationships/tags" Target="../tags/tag469.xml"/><Relationship Id="rId2" Type="http://schemas.openxmlformats.org/officeDocument/2006/relationships/slideLayout" Target="../slideLayouts/slideLayout112.xml"/><Relationship Id="rId19" Type="http://schemas.openxmlformats.org/officeDocument/2006/relationships/tags" Target="../tags/tag468.xml"/><Relationship Id="rId18" Type="http://schemas.openxmlformats.org/officeDocument/2006/relationships/tags" Target="../tags/tag467.xml"/><Relationship Id="rId17" Type="http://schemas.openxmlformats.org/officeDocument/2006/relationships/tags" Target="../tags/tag466.xml"/><Relationship Id="rId16" Type="http://schemas.openxmlformats.org/officeDocument/2006/relationships/tags" Target="../tags/tag465.xml"/><Relationship Id="rId15" Type="http://schemas.openxmlformats.org/officeDocument/2006/relationships/tags" Target="../tags/tag464.xml"/><Relationship Id="rId14" Type="http://schemas.openxmlformats.org/officeDocument/2006/relationships/tags" Target="../tags/tag463.xml"/><Relationship Id="rId13" Type="http://schemas.openxmlformats.org/officeDocument/2006/relationships/tags" Target="../tags/tag462.xml"/><Relationship Id="rId12" Type="http://schemas.openxmlformats.org/officeDocument/2006/relationships/image" Target="../media/image13.png"/><Relationship Id="rId11" Type="http://schemas.openxmlformats.org/officeDocument/2006/relationships/image" Target="../media/image12.jpeg"/><Relationship Id="rId10" Type="http://schemas.openxmlformats.org/officeDocument/2006/relationships/image" Target="../media/image15.emf"/><Relationship Id="rId1" Type="http://schemas.openxmlformats.org/officeDocument/2006/relationships/slideLayout" Target="../slideLayouts/slideLayout111.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126.xml"/><Relationship Id="rId8" Type="http://schemas.openxmlformats.org/officeDocument/2006/relationships/slideLayout" Target="../slideLayouts/slideLayout125.xml"/><Relationship Id="rId7" Type="http://schemas.openxmlformats.org/officeDocument/2006/relationships/slideLayout" Target="../slideLayouts/slideLayout124.xml"/><Relationship Id="rId6" Type="http://schemas.openxmlformats.org/officeDocument/2006/relationships/slideLayout" Target="../slideLayouts/slideLayout123.xml"/><Relationship Id="rId5" Type="http://schemas.openxmlformats.org/officeDocument/2006/relationships/slideLayout" Target="../slideLayouts/slideLayout122.xml"/><Relationship Id="rId48" Type="http://schemas.openxmlformats.org/officeDocument/2006/relationships/theme" Target="../theme/theme13.xml"/><Relationship Id="rId47" Type="http://schemas.openxmlformats.org/officeDocument/2006/relationships/vmlDrawing" Target="../drawings/vmlDrawing90.vml"/><Relationship Id="rId46" Type="http://schemas.openxmlformats.org/officeDocument/2006/relationships/tags" Target="../tags/tag537.xml"/><Relationship Id="rId45" Type="http://schemas.openxmlformats.org/officeDocument/2006/relationships/tags" Target="../tags/tag536.xml"/><Relationship Id="rId44" Type="http://schemas.openxmlformats.org/officeDocument/2006/relationships/tags" Target="../tags/tag535.xml"/><Relationship Id="rId43" Type="http://schemas.openxmlformats.org/officeDocument/2006/relationships/tags" Target="../tags/tag534.xml"/><Relationship Id="rId42" Type="http://schemas.openxmlformats.org/officeDocument/2006/relationships/tags" Target="../tags/tag533.xml"/><Relationship Id="rId41" Type="http://schemas.openxmlformats.org/officeDocument/2006/relationships/tags" Target="../tags/tag532.xml"/><Relationship Id="rId40" Type="http://schemas.openxmlformats.org/officeDocument/2006/relationships/tags" Target="../tags/tag531.xml"/><Relationship Id="rId4" Type="http://schemas.openxmlformats.org/officeDocument/2006/relationships/slideLayout" Target="../slideLayouts/slideLayout121.xml"/><Relationship Id="rId39" Type="http://schemas.openxmlformats.org/officeDocument/2006/relationships/tags" Target="../tags/tag530.xml"/><Relationship Id="rId38" Type="http://schemas.openxmlformats.org/officeDocument/2006/relationships/tags" Target="../tags/tag529.xml"/><Relationship Id="rId37" Type="http://schemas.openxmlformats.org/officeDocument/2006/relationships/tags" Target="../tags/tag528.xml"/><Relationship Id="rId36" Type="http://schemas.openxmlformats.org/officeDocument/2006/relationships/tags" Target="../tags/tag527.xml"/><Relationship Id="rId35" Type="http://schemas.openxmlformats.org/officeDocument/2006/relationships/tags" Target="../tags/tag526.xml"/><Relationship Id="rId34" Type="http://schemas.openxmlformats.org/officeDocument/2006/relationships/tags" Target="../tags/tag525.xml"/><Relationship Id="rId33" Type="http://schemas.openxmlformats.org/officeDocument/2006/relationships/tags" Target="../tags/tag524.xml"/><Relationship Id="rId32" Type="http://schemas.openxmlformats.org/officeDocument/2006/relationships/tags" Target="../tags/tag523.xml"/><Relationship Id="rId31" Type="http://schemas.openxmlformats.org/officeDocument/2006/relationships/tags" Target="../tags/tag522.xml"/><Relationship Id="rId30" Type="http://schemas.openxmlformats.org/officeDocument/2006/relationships/tags" Target="../tags/tag521.xml"/><Relationship Id="rId3" Type="http://schemas.openxmlformats.org/officeDocument/2006/relationships/slideLayout" Target="../slideLayouts/slideLayout120.xml"/><Relationship Id="rId29" Type="http://schemas.openxmlformats.org/officeDocument/2006/relationships/tags" Target="../tags/tag520.xml"/><Relationship Id="rId28" Type="http://schemas.openxmlformats.org/officeDocument/2006/relationships/tags" Target="../tags/tag519.xml"/><Relationship Id="rId27" Type="http://schemas.openxmlformats.org/officeDocument/2006/relationships/tags" Target="../tags/tag518.xml"/><Relationship Id="rId26" Type="http://schemas.openxmlformats.org/officeDocument/2006/relationships/tags" Target="../tags/tag517.xml"/><Relationship Id="rId25" Type="http://schemas.openxmlformats.org/officeDocument/2006/relationships/tags" Target="../tags/tag516.xml"/><Relationship Id="rId24" Type="http://schemas.openxmlformats.org/officeDocument/2006/relationships/tags" Target="../tags/tag515.xml"/><Relationship Id="rId23" Type="http://schemas.openxmlformats.org/officeDocument/2006/relationships/tags" Target="../tags/tag514.xml"/><Relationship Id="rId22" Type="http://schemas.openxmlformats.org/officeDocument/2006/relationships/tags" Target="../tags/tag513.xml"/><Relationship Id="rId21" Type="http://schemas.openxmlformats.org/officeDocument/2006/relationships/tags" Target="../tags/tag512.xml"/><Relationship Id="rId20" Type="http://schemas.openxmlformats.org/officeDocument/2006/relationships/tags" Target="../tags/tag511.xml"/><Relationship Id="rId2" Type="http://schemas.openxmlformats.org/officeDocument/2006/relationships/slideLayout" Target="../slideLayouts/slideLayout119.xml"/><Relationship Id="rId19" Type="http://schemas.openxmlformats.org/officeDocument/2006/relationships/tags" Target="../tags/tag510.xml"/><Relationship Id="rId18" Type="http://schemas.openxmlformats.org/officeDocument/2006/relationships/tags" Target="../tags/tag509.xml"/><Relationship Id="rId17" Type="http://schemas.openxmlformats.org/officeDocument/2006/relationships/tags" Target="../tags/tag508.xml"/><Relationship Id="rId16" Type="http://schemas.openxmlformats.org/officeDocument/2006/relationships/image" Target="../media/image13.png"/><Relationship Id="rId15" Type="http://schemas.openxmlformats.org/officeDocument/2006/relationships/image" Target="../media/image12.jpeg"/><Relationship Id="rId14" Type="http://schemas.openxmlformats.org/officeDocument/2006/relationships/image" Target="../media/image15.emf"/><Relationship Id="rId13" Type="http://schemas.openxmlformats.org/officeDocument/2006/relationships/oleObject" Target="../embeddings/oleObject90.bin"/><Relationship Id="rId12" Type="http://schemas.openxmlformats.org/officeDocument/2006/relationships/tags" Target="../tags/tag507.xml"/><Relationship Id="rId11" Type="http://schemas.openxmlformats.org/officeDocument/2006/relationships/slideLayout" Target="../slideLayouts/slideLayout128.xml"/><Relationship Id="rId10" Type="http://schemas.openxmlformats.org/officeDocument/2006/relationships/slideLayout" Target="../slideLayouts/slideLayout127.xml"/><Relationship Id="rId1" Type="http://schemas.openxmlformats.org/officeDocument/2006/relationships/slideLayout" Target="../slideLayouts/slideLayout118.xml"/></Relationships>
</file>

<file path=ppt/slideMasters/_rels/slideMaster14.xml.rels><?xml version="1.0" encoding="UTF-8" standalone="yes"?>
<Relationships xmlns="http://schemas.openxmlformats.org/package/2006/relationships"><Relationship Id="rId9" Type="http://schemas.openxmlformats.org/officeDocument/2006/relationships/oleObject" Target="../embeddings/oleObject97.bin"/><Relationship Id="rId8" Type="http://schemas.openxmlformats.org/officeDocument/2006/relationships/tags" Target="../tags/tag547.xml"/><Relationship Id="rId7" Type="http://schemas.openxmlformats.org/officeDocument/2006/relationships/slideLayout" Target="../slideLayouts/slideLayout135.xml"/><Relationship Id="rId6" Type="http://schemas.openxmlformats.org/officeDocument/2006/relationships/slideLayout" Target="../slideLayouts/slideLayout134.xml"/><Relationship Id="rId5" Type="http://schemas.openxmlformats.org/officeDocument/2006/relationships/slideLayout" Target="../slideLayouts/slideLayout133.xml"/><Relationship Id="rId44" Type="http://schemas.openxmlformats.org/officeDocument/2006/relationships/theme" Target="../theme/theme14.xml"/><Relationship Id="rId43" Type="http://schemas.openxmlformats.org/officeDocument/2006/relationships/vmlDrawing" Target="../drawings/vmlDrawing97.vml"/><Relationship Id="rId42" Type="http://schemas.openxmlformats.org/officeDocument/2006/relationships/tags" Target="../tags/tag577.xml"/><Relationship Id="rId41" Type="http://schemas.openxmlformats.org/officeDocument/2006/relationships/tags" Target="../tags/tag576.xml"/><Relationship Id="rId40" Type="http://schemas.openxmlformats.org/officeDocument/2006/relationships/tags" Target="../tags/tag575.xml"/><Relationship Id="rId4" Type="http://schemas.openxmlformats.org/officeDocument/2006/relationships/slideLayout" Target="../slideLayouts/slideLayout132.xml"/><Relationship Id="rId39" Type="http://schemas.openxmlformats.org/officeDocument/2006/relationships/tags" Target="../tags/tag574.xml"/><Relationship Id="rId38" Type="http://schemas.openxmlformats.org/officeDocument/2006/relationships/tags" Target="../tags/tag573.xml"/><Relationship Id="rId37" Type="http://schemas.openxmlformats.org/officeDocument/2006/relationships/tags" Target="../tags/tag572.xml"/><Relationship Id="rId36" Type="http://schemas.openxmlformats.org/officeDocument/2006/relationships/tags" Target="../tags/tag571.xml"/><Relationship Id="rId35" Type="http://schemas.openxmlformats.org/officeDocument/2006/relationships/tags" Target="../tags/tag570.xml"/><Relationship Id="rId34" Type="http://schemas.openxmlformats.org/officeDocument/2006/relationships/tags" Target="../tags/tag569.xml"/><Relationship Id="rId33" Type="http://schemas.openxmlformats.org/officeDocument/2006/relationships/tags" Target="../tags/tag568.xml"/><Relationship Id="rId32" Type="http://schemas.openxmlformats.org/officeDocument/2006/relationships/tags" Target="../tags/tag567.xml"/><Relationship Id="rId31" Type="http://schemas.openxmlformats.org/officeDocument/2006/relationships/tags" Target="../tags/tag566.xml"/><Relationship Id="rId30" Type="http://schemas.openxmlformats.org/officeDocument/2006/relationships/tags" Target="../tags/tag565.xml"/><Relationship Id="rId3" Type="http://schemas.openxmlformats.org/officeDocument/2006/relationships/slideLayout" Target="../slideLayouts/slideLayout131.xml"/><Relationship Id="rId29" Type="http://schemas.openxmlformats.org/officeDocument/2006/relationships/tags" Target="../tags/tag564.xml"/><Relationship Id="rId28" Type="http://schemas.openxmlformats.org/officeDocument/2006/relationships/tags" Target="../tags/tag563.xml"/><Relationship Id="rId27" Type="http://schemas.openxmlformats.org/officeDocument/2006/relationships/tags" Target="../tags/tag562.xml"/><Relationship Id="rId26" Type="http://schemas.openxmlformats.org/officeDocument/2006/relationships/tags" Target="../tags/tag561.xml"/><Relationship Id="rId25" Type="http://schemas.openxmlformats.org/officeDocument/2006/relationships/tags" Target="../tags/tag560.xml"/><Relationship Id="rId24" Type="http://schemas.openxmlformats.org/officeDocument/2006/relationships/tags" Target="../tags/tag559.xml"/><Relationship Id="rId23" Type="http://schemas.openxmlformats.org/officeDocument/2006/relationships/tags" Target="../tags/tag558.xml"/><Relationship Id="rId22" Type="http://schemas.openxmlformats.org/officeDocument/2006/relationships/tags" Target="../tags/tag557.xml"/><Relationship Id="rId21" Type="http://schemas.openxmlformats.org/officeDocument/2006/relationships/tags" Target="../tags/tag556.xml"/><Relationship Id="rId20" Type="http://schemas.openxmlformats.org/officeDocument/2006/relationships/tags" Target="../tags/tag555.xml"/><Relationship Id="rId2" Type="http://schemas.openxmlformats.org/officeDocument/2006/relationships/slideLayout" Target="../slideLayouts/slideLayout130.xml"/><Relationship Id="rId19" Type="http://schemas.openxmlformats.org/officeDocument/2006/relationships/tags" Target="../tags/tag554.xml"/><Relationship Id="rId18" Type="http://schemas.openxmlformats.org/officeDocument/2006/relationships/tags" Target="../tags/tag553.xml"/><Relationship Id="rId17" Type="http://schemas.openxmlformats.org/officeDocument/2006/relationships/tags" Target="../tags/tag552.xml"/><Relationship Id="rId16" Type="http://schemas.openxmlformats.org/officeDocument/2006/relationships/tags" Target="../tags/tag551.xml"/><Relationship Id="rId15" Type="http://schemas.openxmlformats.org/officeDocument/2006/relationships/tags" Target="../tags/tag550.xml"/><Relationship Id="rId14" Type="http://schemas.openxmlformats.org/officeDocument/2006/relationships/tags" Target="../tags/tag549.xml"/><Relationship Id="rId13" Type="http://schemas.openxmlformats.org/officeDocument/2006/relationships/tags" Target="../tags/tag548.xml"/><Relationship Id="rId12" Type="http://schemas.openxmlformats.org/officeDocument/2006/relationships/image" Target="../media/image13.png"/><Relationship Id="rId11" Type="http://schemas.openxmlformats.org/officeDocument/2006/relationships/image" Target="../media/image12.jpeg"/><Relationship Id="rId10" Type="http://schemas.openxmlformats.org/officeDocument/2006/relationships/image" Target="../media/image15.emf"/><Relationship Id="rId1" Type="http://schemas.openxmlformats.org/officeDocument/2006/relationships/slideLayout" Target="../slideLayouts/slideLayout129.xml"/></Relationships>
</file>

<file path=ppt/slideMasters/_rels/slideMaster15.xml.rels><?xml version="1.0" encoding="UTF-8" standalone="yes"?>
<Relationships xmlns="http://schemas.openxmlformats.org/package/2006/relationships"><Relationship Id="rId9" Type="http://schemas.openxmlformats.org/officeDocument/2006/relationships/tags" Target="../tags/tag587.xml"/><Relationship Id="rId8" Type="http://schemas.openxmlformats.org/officeDocument/2006/relationships/slideLayout" Target="../slideLayouts/slideLayout143.xml"/><Relationship Id="rId7" Type="http://schemas.openxmlformats.org/officeDocument/2006/relationships/slideLayout" Target="../slideLayouts/slideLayout142.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45" Type="http://schemas.openxmlformats.org/officeDocument/2006/relationships/theme" Target="../theme/theme15.xml"/><Relationship Id="rId44" Type="http://schemas.openxmlformats.org/officeDocument/2006/relationships/vmlDrawing" Target="../drawings/vmlDrawing104.vml"/><Relationship Id="rId43" Type="http://schemas.openxmlformats.org/officeDocument/2006/relationships/tags" Target="../tags/tag617.xml"/><Relationship Id="rId42" Type="http://schemas.openxmlformats.org/officeDocument/2006/relationships/tags" Target="../tags/tag616.xml"/><Relationship Id="rId41" Type="http://schemas.openxmlformats.org/officeDocument/2006/relationships/tags" Target="../tags/tag615.xml"/><Relationship Id="rId40" Type="http://schemas.openxmlformats.org/officeDocument/2006/relationships/tags" Target="../tags/tag614.xml"/><Relationship Id="rId4" Type="http://schemas.openxmlformats.org/officeDocument/2006/relationships/slideLayout" Target="../slideLayouts/slideLayout139.xml"/><Relationship Id="rId39" Type="http://schemas.openxmlformats.org/officeDocument/2006/relationships/tags" Target="../tags/tag613.xml"/><Relationship Id="rId38" Type="http://schemas.openxmlformats.org/officeDocument/2006/relationships/tags" Target="../tags/tag612.xml"/><Relationship Id="rId37" Type="http://schemas.openxmlformats.org/officeDocument/2006/relationships/tags" Target="../tags/tag611.xml"/><Relationship Id="rId36" Type="http://schemas.openxmlformats.org/officeDocument/2006/relationships/tags" Target="../tags/tag610.xml"/><Relationship Id="rId35" Type="http://schemas.openxmlformats.org/officeDocument/2006/relationships/tags" Target="../tags/tag609.xml"/><Relationship Id="rId34" Type="http://schemas.openxmlformats.org/officeDocument/2006/relationships/tags" Target="../tags/tag608.xml"/><Relationship Id="rId33" Type="http://schemas.openxmlformats.org/officeDocument/2006/relationships/tags" Target="../tags/tag607.xml"/><Relationship Id="rId32" Type="http://schemas.openxmlformats.org/officeDocument/2006/relationships/tags" Target="../tags/tag606.xml"/><Relationship Id="rId31" Type="http://schemas.openxmlformats.org/officeDocument/2006/relationships/tags" Target="../tags/tag605.xml"/><Relationship Id="rId30" Type="http://schemas.openxmlformats.org/officeDocument/2006/relationships/tags" Target="../tags/tag604.xml"/><Relationship Id="rId3" Type="http://schemas.openxmlformats.org/officeDocument/2006/relationships/slideLayout" Target="../slideLayouts/slideLayout138.xml"/><Relationship Id="rId29" Type="http://schemas.openxmlformats.org/officeDocument/2006/relationships/tags" Target="../tags/tag603.xml"/><Relationship Id="rId28" Type="http://schemas.openxmlformats.org/officeDocument/2006/relationships/tags" Target="../tags/tag602.xml"/><Relationship Id="rId27" Type="http://schemas.openxmlformats.org/officeDocument/2006/relationships/tags" Target="../tags/tag601.xml"/><Relationship Id="rId26" Type="http://schemas.openxmlformats.org/officeDocument/2006/relationships/tags" Target="../tags/tag600.xml"/><Relationship Id="rId25" Type="http://schemas.openxmlformats.org/officeDocument/2006/relationships/tags" Target="../tags/tag599.xml"/><Relationship Id="rId24" Type="http://schemas.openxmlformats.org/officeDocument/2006/relationships/tags" Target="../tags/tag598.xml"/><Relationship Id="rId23" Type="http://schemas.openxmlformats.org/officeDocument/2006/relationships/tags" Target="../tags/tag597.xml"/><Relationship Id="rId22" Type="http://schemas.openxmlformats.org/officeDocument/2006/relationships/tags" Target="../tags/tag596.xml"/><Relationship Id="rId21" Type="http://schemas.openxmlformats.org/officeDocument/2006/relationships/tags" Target="../tags/tag595.xml"/><Relationship Id="rId20" Type="http://schemas.openxmlformats.org/officeDocument/2006/relationships/tags" Target="../tags/tag594.xml"/><Relationship Id="rId2" Type="http://schemas.openxmlformats.org/officeDocument/2006/relationships/slideLayout" Target="../slideLayouts/slideLayout137.xml"/><Relationship Id="rId19" Type="http://schemas.openxmlformats.org/officeDocument/2006/relationships/tags" Target="../tags/tag593.xml"/><Relationship Id="rId18" Type="http://schemas.openxmlformats.org/officeDocument/2006/relationships/tags" Target="../tags/tag592.xml"/><Relationship Id="rId17" Type="http://schemas.openxmlformats.org/officeDocument/2006/relationships/tags" Target="../tags/tag591.xml"/><Relationship Id="rId16" Type="http://schemas.openxmlformats.org/officeDocument/2006/relationships/tags" Target="../tags/tag590.xml"/><Relationship Id="rId15" Type="http://schemas.openxmlformats.org/officeDocument/2006/relationships/tags" Target="../tags/tag589.xml"/><Relationship Id="rId14" Type="http://schemas.openxmlformats.org/officeDocument/2006/relationships/tags" Target="../tags/tag588.xml"/><Relationship Id="rId13" Type="http://schemas.openxmlformats.org/officeDocument/2006/relationships/image" Target="../media/image13.png"/><Relationship Id="rId12" Type="http://schemas.openxmlformats.org/officeDocument/2006/relationships/image" Target="../media/image12.jpeg"/><Relationship Id="rId11" Type="http://schemas.openxmlformats.org/officeDocument/2006/relationships/image" Target="../media/image15.emf"/><Relationship Id="rId10" Type="http://schemas.openxmlformats.org/officeDocument/2006/relationships/oleObject" Target="../embeddings/oleObject104.bin"/><Relationship Id="rId1"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3.png"/><Relationship Id="rId8" Type="http://schemas.openxmlformats.org/officeDocument/2006/relationships/image" Target="../media/image2.jpeg"/><Relationship Id="rId7" Type="http://schemas.openxmlformats.org/officeDocument/2006/relationships/slideLayout" Target="../slideLayouts/slideLayout20.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0" Type="http://schemas.openxmlformats.org/officeDocument/2006/relationships/theme" Target="../theme/theme2.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9" Type="http://schemas.openxmlformats.org/officeDocument/2006/relationships/tags" Target="../tags/tag84.xml"/><Relationship Id="rId8" Type="http://schemas.openxmlformats.org/officeDocument/2006/relationships/slideLayout" Target="../slideLayouts/slideLayout28.xml"/><Relationship Id="rId7" Type="http://schemas.openxmlformats.org/officeDocument/2006/relationships/slideLayout" Target="../slideLayouts/slideLayout27.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5" Type="http://schemas.openxmlformats.org/officeDocument/2006/relationships/theme" Target="../theme/theme3.xml"/><Relationship Id="rId44" Type="http://schemas.openxmlformats.org/officeDocument/2006/relationships/vmlDrawing" Target="../drawings/vmlDrawing7.vml"/><Relationship Id="rId43" Type="http://schemas.openxmlformats.org/officeDocument/2006/relationships/tags" Target="../tags/tag114.xml"/><Relationship Id="rId42" Type="http://schemas.openxmlformats.org/officeDocument/2006/relationships/tags" Target="../tags/tag113.xml"/><Relationship Id="rId41" Type="http://schemas.openxmlformats.org/officeDocument/2006/relationships/tags" Target="../tags/tag112.xml"/><Relationship Id="rId40" Type="http://schemas.openxmlformats.org/officeDocument/2006/relationships/tags" Target="../tags/tag111.xml"/><Relationship Id="rId4" Type="http://schemas.openxmlformats.org/officeDocument/2006/relationships/slideLayout" Target="../slideLayouts/slideLayout24.xml"/><Relationship Id="rId39" Type="http://schemas.openxmlformats.org/officeDocument/2006/relationships/tags" Target="../tags/tag110.xml"/><Relationship Id="rId38" Type="http://schemas.openxmlformats.org/officeDocument/2006/relationships/tags" Target="../tags/tag109.xml"/><Relationship Id="rId37" Type="http://schemas.openxmlformats.org/officeDocument/2006/relationships/tags" Target="../tags/tag108.xml"/><Relationship Id="rId36" Type="http://schemas.openxmlformats.org/officeDocument/2006/relationships/tags" Target="../tags/tag107.xml"/><Relationship Id="rId35" Type="http://schemas.openxmlformats.org/officeDocument/2006/relationships/tags" Target="../tags/tag106.xml"/><Relationship Id="rId34" Type="http://schemas.openxmlformats.org/officeDocument/2006/relationships/tags" Target="../tags/tag105.xml"/><Relationship Id="rId33" Type="http://schemas.openxmlformats.org/officeDocument/2006/relationships/tags" Target="../tags/tag104.xml"/><Relationship Id="rId32" Type="http://schemas.openxmlformats.org/officeDocument/2006/relationships/tags" Target="../tags/tag103.xml"/><Relationship Id="rId31" Type="http://schemas.openxmlformats.org/officeDocument/2006/relationships/tags" Target="../tags/tag102.xml"/><Relationship Id="rId30" Type="http://schemas.openxmlformats.org/officeDocument/2006/relationships/tags" Target="../tags/tag101.xml"/><Relationship Id="rId3" Type="http://schemas.openxmlformats.org/officeDocument/2006/relationships/slideLayout" Target="../slideLayouts/slideLayout23.xml"/><Relationship Id="rId29" Type="http://schemas.openxmlformats.org/officeDocument/2006/relationships/tags" Target="../tags/tag100.xml"/><Relationship Id="rId28" Type="http://schemas.openxmlformats.org/officeDocument/2006/relationships/tags" Target="../tags/tag99.xml"/><Relationship Id="rId27" Type="http://schemas.openxmlformats.org/officeDocument/2006/relationships/tags" Target="../tags/tag98.xml"/><Relationship Id="rId26" Type="http://schemas.openxmlformats.org/officeDocument/2006/relationships/tags" Target="../tags/tag97.xml"/><Relationship Id="rId25" Type="http://schemas.openxmlformats.org/officeDocument/2006/relationships/tags" Target="../tags/tag96.xml"/><Relationship Id="rId24" Type="http://schemas.openxmlformats.org/officeDocument/2006/relationships/tags" Target="../tags/tag95.xml"/><Relationship Id="rId23" Type="http://schemas.openxmlformats.org/officeDocument/2006/relationships/tags" Target="../tags/tag94.xml"/><Relationship Id="rId22" Type="http://schemas.openxmlformats.org/officeDocument/2006/relationships/tags" Target="../tags/tag93.xml"/><Relationship Id="rId21" Type="http://schemas.openxmlformats.org/officeDocument/2006/relationships/tags" Target="../tags/tag92.xml"/><Relationship Id="rId20" Type="http://schemas.openxmlformats.org/officeDocument/2006/relationships/tags" Target="../tags/tag91.xml"/><Relationship Id="rId2" Type="http://schemas.openxmlformats.org/officeDocument/2006/relationships/slideLayout" Target="../slideLayouts/slideLayout22.xml"/><Relationship Id="rId19" Type="http://schemas.openxmlformats.org/officeDocument/2006/relationships/tags" Target="../tags/tag90.xml"/><Relationship Id="rId18" Type="http://schemas.openxmlformats.org/officeDocument/2006/relationships/tags" Target="../tags/tag89.xml"/><Relationship Id="rId17" Type="http://schemas.openxmlformats.org/officeDocument/2006/relationships/tags" Target="../tags/tag88.xml"/><Relationship Id="rId16" Type="http://schemas.openxmlformats.org/officeDocument/2006/relationships/tags" Target="../tags/tag87.xml"/><Relationship Id="rId15" Type="http://schemas.openxmlformats.org/officeDocument/2006/relationships/tags" Target="../tags/tag86.xml"/><Relationship Id="rId14" Type="http://schemas.openxmlformats.org/officeDocument/2006/relationships/tags" Target="../tags/tag85.xml"/><Relationship Id="rId13" Type="http://schemas.openxmlformats.org/officeDocument/2006/relationships/image" Target="../media/image13.png"/><Relationship Id="rId12" Type="http://schemas.openxmlformats.org/officeDocument/2006/relationships/image" Target="../media/image12.jpeg"/><Relationship Id="rId11" Type="http://schemas.openxmlformats.org/officeDocument/2006/relationships/image" Target="../media/image15.emf"/><Relationship Id="rId10" Type="http://schemas.openxmlformats.org/officeDocument/2006/relationships/oleObject" Target="../embeddings/oleObject7.bin"/><Relationship Id="rId1"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7.xml"/><Relationship Id="rId8" Type="http://schemas.openxmlformats.org/officeDocument/2006/relationships/slideLayout" Target="../slideLayouts/slideLayout36.xml"/><Relationship Id="rId7" Type="http://schemas.openxmlformats.org/officeDocument/2006/relationships/slideLayout" Target="../slideLayouts/slideLayout35.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6" Type="http://schemas.openxmlformats.org/officeDocument/2006/relationships/theme" Target="../theme/theme4.xml"/><Relationship Id="rId45" Type="http://schemas.openxmlformats.org/officeDocument/2006/relationships/vmlDrawing" Target="../drawings/vmlDrawing15.vml"/><Relationship Id="rId44" Type="http://schemas.openxmlformats.org/officeDocument/2006/relationships/tags" Target="../tags/tag156.xml"/><Relationship Id="rId43" Type="http://schemas.openxmlformats.org/officeDocument/2006/relationships/tags" Target="../tags/tag155.xml"/><Relationship Id="rId42" Type="http://schemas.openxmlformats.org/officeDocument/2006/relationships/tags" Target="../tags/tag154.xml"/><Relationship Id="rId41" Type="http://schemas.openxmlformats.org/officeDocument/2006/relationships/tags" Target="../tags/tag153.xml"/><Relationship Id="rId40" Type="http://schemas.openxmlformats.org/officeDocument/2006/relationships/tags" Target="../tags/tag152.xml"/><Relationship Id="rId4" Type="http://schemas.openxmlformats.org/officeDocument/2006/relationships/slideLayout" Target="../slideLayouts/slideLayout32.xml"/><Relationship Id="rId39" Type="http://schemas.openxmlformats.org/officeDocument/2006/relationships/tags" Target="../tags/tag151.xml"/><Relationship Id="rId38" Type="http://schemas.openxmlformats.org/officeDocument/2006/relationships/tags" Target="../tags/tag150.xml"/><Relationship Id="rId37" Type="http://schemas.openxmlformats.org/officeDocument/2006/relationships/tags" Target="../tags/tag149.xml"/><Relationship Id="rId36" Type="http://schemas.openxmlformats.org/officeDocument/2006/relationships/tags" Target="../tags/tag148.xml"/><Relationship Id="rId35" Type="http://schemas.openxmlformats.org/officeDocument/2006/relationships/tags" Target="../tags/tag147.xml"/><Relationship Id="rId34" Type="http://schemas.openxmlformats.org/officeDocument/2006/relationships/tags" Target="../tags/tag146.xml"/><Relationship Id="rId33" Type="http://schemas.openxmlformats.org/officeDocument/2006/relationships/tags" Target="../tags/tag145.xml"/><Relationship Id="rId32" Type="http://schemas.openxmlformats.org/officeDocument/2006/relationships/tags" Target="../tags/tag144.xml"/><Relationship Id="rId31" Type="http://schemas.openxmlformats.org/officeDocument/2006/relationships/tags" Target="../tags/tag143.xml"/><Relationship Id="rId30" Type="http://schemas.openxmlformats.org/officeDocument/2006/relationships/tags" Target="../tags/tag142.xml"/><Relationship Id="rId3" Type="http://schemas.openxmlformats.org/officeDocument/2006/relationships/slideLayout" Target="../slideLayouts/slideLayout31.xml"/><Relationship Id="rId29" Type="http://schemas.openxmlformats.org/officeDocument/2006/relationships/tags" Target="../tags/tag141.xml"/><Relationship Id="rId28" Type="http://schemas.openxmlformats.org/officeDocument/2006/relationships/tags" Target="../tags/tag140.xml"/><Relationship Id="rId27" Type="http://schemas.openxmlformats.org/officeDocument/2006/relationships/tags" Target="../tags/tag139.xml"/><Relationship Id="rId26" Type="http://schemas.openxmlformats.org/officeDocument/2006/relationships/tags" Target="../tags/tag138.xml"/><Relationship Id="rId25" Type="http://schemas.openxmlformats.org/officeDocument/2006/relationships/tags" Target="../tags/tag137.xml"/><Relationship Id="rId24" Type="http://schemas.openxmlformats.org/officeDocument/2006/relationships/tags" Target="../tags/tag136.xml"/><Relationship Id="rId23" Type="http://schemas.openxmlformats.org/officeDocument/2006/relationships/tags" Target="../tags/tag135.xml"/><Relationship Id="rId22" Type="http://schemas.openxmlformats.org/officeDocument/2006/relationships/tags" Target="../tags/tag134.xml"/><Relationship Id="rId21" Type="http://schemas.openxmlformats.org/officeDocument/2006/relationships/tags" Target="../tags/tag133.xml"/><Relationship Id="rId20" Type="http://schemas.openxmlformats.org/officeDocument/2006/relationships/tags" Target="../tags/tag132.xml"/><Relationship Id="rId2" Type="http://schemas.openxmlformats.org/officeDocument/2006/relationships/slideLayout" Target="../slideLayouts/slideLayout30.xml"/><Relationship Id="rId19" Type="http://schemas.openxmlformats.org/officeDocument/2006/relationships/tags" Target="../tags/tag131.xml"/><Relationship Id="rId18" Type="http://schemas.openxmlformats.org/officeDocument/2006/relationships/tags" Target="../tags/tag130.xml"/><Relationship Id="rId17" Type="http://schemas.openxmlformats.org/officeDocument/2006/relationships/tags" Target="../tags/tag129.xml"/><Relationship Id="rId16" Type="http://schemas.openxmlformats.org/officeDocument/2006/relationships/tags" Target="../tags/tag128.xml"/><Relationship Id="rId15" Type="http://schemas.openxmlformats.org/officeDocument/2006/relationships/tags" Target="../tags/tag127.xml"/><Relationship Id="rId14" Type="http://schemas.openxmlformats.org/officeDocument/2006/relationships/image" Target="../media/image13.png"/><Relationship Id="rId13" Type="http://schemas.openxmlformats.org/officeDocument/2006/relationships/image" Target="../media/image12.jpeg"/><Relationship Id="rId12" Type="http://schemas.openxmlformats.org/officeDocument/2006/relationships/image" Target="../media/image15.emf"/><Relationship Id="rId11" Type="http://schemas.openxmlformats.org/officeDocument/2006/relationships/oleObject" Target="../embeddings/oleObject15.bin"/><Relationship Id="rId10" Type="http://schemas.openxmlformats.org/officeDocument/2006/relationships/tags" Target="../tags/tag126.xml"/><Relationship Id="rId1"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46.xml"/><Relationship Id="rId8" Type="http://schemas.openxmlformats.org/officeDocument/2006/relationships/slideLayout" Target="../slideLayouts/slideLayout45.xml"/><Relationship Id="rId7" Type="http://schemas.openxmlformats.org/officeDocument/2006/relationships/slideLayout" Target="../slideLayouts/slideLayout44.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9" Type="http://schemas.openxmlformats.org/officeDocument/2006/relationships/theme" Target="../theme/theme5.xml"/><Relationship Id="rId48" Type="http://schemas.openxmlformats.org/officeDocument/2006/relationships/vmlDrawing" Target="../drawings/vmlDrawing23.vml"/><Relationship Id="rId47" Type="http://schemas.openxmlformats.org/officeDocument/2006/relationships/tags" Target="../tags/tag198.xml"/><Relationship Id="rId46" Type="http://schemas.openxmlformats.org/officeDocument/2006/relationships/tags" Target="../tags/tag197.xml"/><Relationship Id="rId45" Type="http://schemas.openxmlformats.org/officeDocument/2006/relationships/tags" Target="../tags/tag196.xml"/><Relationship Id="rId44" Type="http://schemas.openxmlformats.org/officeDocument/2006/relationships/tags" Target="../tags/tag195.xml"/><Relationship Id="rId43" Type="http://schemas.openxmlformats.org/officeDocument/2006/relationships/tags" Target="../tags/tag194.xml"/><Relationship Id="rId42" Type="http://schemas.openxmlformats.org/officeDocument/2006/relationships/tags" Target="../tags/tag193.xml"/><Relationship Id="rId41" Type="http://schemas.openxmlformats.org/officeDocument/2006/relationships/tags" Target="../tags/tag192.xml"/><Relationship Id="rId40" Type="http://schemas.openxmlformats.org/officeDocument/2006/relationships/tags" Target="../tags/tag191.xml"/><Relationship Id="rId4" Type="http://schemas.openxmlformats.org/officeDocument/2006/relationships/slideLayout" Target="../slideLayouts/slideLayout41.xml"/><Relationship Id="rId39" Type="http://schemas.openxmlformats.org/officeDocument/2006/relationships/tags" Target="../tags/tag190.xml"/><Relationship Id="rId38" Type="http://schemas.openxmlformats.org/officeDocument/2006/relationships/tags" Target="../tags/tag189.xml"/><Relationship Id="rId37" Type="http://schemas.openxmlformats.org/officeDocument/2006/relationships/tags" Target="../tags/tag188.xml"/><Relationship Id="rId36" Type="http://schemas.openxmlformats.org/officeDocument/2006/relationships/tags" Target="../tags/tag187.xml"/><Relationship Id="rId35" Type="http://schemas.openxmlformats.org/officeDocument/2006/relationships/tags" Target="../tags/tag186.xml"/><Relationship Id="rId34" Type="http://schemas.openxmlformats.org/officeDocument/2006/relationships/tags" Target="../tags/tag185.xml"/><Relationship Id="rId33" Type="http://schemas.openxmlformats.org/officeDocument/2006/relationships/tags" Target="../tags/tag184.xml"/><Relationship Id="rId32" Type="http://schemas.openxmlformats.org/officeDocument/2006/relationships/tags" Target="../tags/tag183.xml"/><Relationship Id="rId31" Type="http://schemas.openxmlformats.org/officeDocument/2006/relationships/tags" Target="../tags/tag182.xml"/><Relationship Id="rId30" Type="http://schemas.openxmlformats.org/officeDocument/2006/relationships/tags" Target="../tags/tag181.xml"/><Relationship Id="rId3" Type="http://schemas.openxmlformats.org/officeDocument/2006/relationships/slideLayout" Target="../slideLayouts/slideLayout40.xml"/><Relationship Id="rId29" Type="http://schemas.openxmlformats.org/officeDocument/2006/relationships/tags" Target="../tags/tag180.xml"/><Relationship Id="rId28" Type="http://schemas.openxmlformats.org/officeDocument/2006/relationships/tags" Target="../tags/tag179.xml"/><Relationship Id="rId27" Type="http://schemas.openxmlformats.org/officeDocument/2006/relationships/tags" Target="../tags/tag178.xml"/><Relationship Id="rId26" Type="http://schemas.openxmlformats.org/officeDocument/2006/relationships/tags" Target="../tags/tag177.xml"/><Relationship Id="rId25" Type="http://schemas.openxmlformats.org/officeDocument/2006/relationships/tags" Target="../tags/tag176.xml"/><Relationship Id="rId24" Type="http://schemas.openxmlformats.org/officeDocument/2006/relationships/tags" Target="../tags/tag175.xml"/><Relationship Id="rId23" Type="http://schemas.openxmlformats.org/officeDocument/2006/relationships/tags" Target="../tags/tag174.xml"/><Relationship Id="rId22" Type="http://schemas.openxmlformats.org/officeDocument/2006/relationships/tags" Target="../tags/tag173.xml"/><Relationship Id="rId21" Type="http://schemas.openxmlformats.org/officeDocument/2006/relationships/tags" Target="../tags/tag172.xml"/><Relationship Id="rId20" Type="http://schemas.openxmlformats.org/officeDocument/2006/relationships/tags" Target="../tags/tag171.xml"/><Relationship Id="rId2" Type="http://schemas.openxmlformats.org/officeDocument/2006/relationships/slideLayout" Target="../slideLayouts/slideLayout39.xml"/><Relationship Id="rId19" Type="http://schemas.openxmlformats.org/officeDocument/2006/relationships/tags" Target="../tags/tag170.xml"/><Relationship Id="rId18" Type="http://schemas.openxmlformats.org/officeDocument/2006/relationships/tags" Target="../tags/tag169.xml"/><Relationship Id="rId17" Type="http://schemas.openxmlformats.org/officeDocument/2006/relationships/image" Target="../media/image13.png"/><Relationship Id="rId16" Type="http://schemas.openxmlformats.org/officeDocument/2006/relationships/image" Target="../media/image12.jpeg"/><Relationship Id="rId15" Type="http://schemas.openxmlformats.org/officeDocument/2006/relationships/image" Target="../media/image15.emf"/><Relationship Id="rId14" Type="http://schemas.openxmlformats.org/officeDocument/2006/relationships/oleObject" Target="../embeddings/oleObject23.bin"/><Relationship Id="rId13" Type="http://schemas.openxmlformats.org/officeDocument/2006/relationships/tags" Target="../tags/tag168.xml"/><Relationship Id="rId12" Type="http://schemas.openxmlformats.org/officeDocument/2006/relationships/slideLayout" Target="../slideLayouts/slideLayout49.xml"/><Relationship Id="rId11" Type="http://schemas.openxmlformats.org/officeDocument/2006/relationships/slideLayout" Target="../slideLayouts/slideLayout48.xml"/><Relationship Id="rId10" Type="http://schemas.openxmlformats.org/officeDocument/2006/relationships/slideLayout" Target="../slideLayouts/slideLayout47.xml"/><Relationship Id="rId1"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58.xml"/><Relationship Id="rId8" Type="http://schemas.openxmlformats.org/officeDocument/2006/relationships/slideLayout" Target="../slideLayouts/slideLayout57.xml"/><Relationship Id="rId7" Type="http://schemas.openxmlformats.org/officeDocument/2006/relationships/slideLayout" Target="../slideLayouts/slideLayout56.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9" Type="http://schemas.openxmlformats.org/officeDocument/2006/relationships/theme" Target="../theme/theme6.xml"/><Relationship Id="rId48" Type="http://schemas.openxmlformats.org/officeDocument/2006/relationships/vmlDrawing" Target="../drawings/vmlDrawing31.vml"/><Relationship Id="rId47" Type="http://schemas.openxmlformats.org/officeDocument/2006/relationships/tags" Target="../tags/tag240.xml"/><Relationship Id="rId46" Type="http://schemas.openxmlformats.org/officeDocument/2006/relationships/tags" Target="../tags/tag239.xml"/><Relationship Id="rId45" Type="http://schemas.openxmlformats.org/officeDocument/2006/relationships/tags" Target="../tags/tag238.xml"/><Relationship Id="rId44" Type="http://schemas.openxmlformats.org/officeDocument/2006/relationships/tags" Target="../tags/tag237.xml"/><Relationship Id="rId43" Type="http://schemas.openxmlformats.org/officeDocument/2006/relationships/tags" Target="../tags/tag236.xml"/><Relationship Id="rId42" Type="http://schemas.openxmlformats.org/officeDocument/2006/relationships/tags" Target="../tags/tag235.xml"/><Relationship Id="rId41" Type="http://schemas.openxmlformats.org/officeDocument/2006/relationships/tags" Target="../tags/tag234.xml"/><Relationship Id="rId40" Type="http://schemas.openxmlformats.org/officeDocument/2006/relationships/tags" Target="../tags/tag233.xml"/><Relationship Id="rId4" Type="http://schemas.openxmlformats.org/officeDocument/2006/relationships/slideLayout" Target="../slideLayouts/slideLayout53.xml"/><Relationship Id="rId39" Type="http://schemas.openxmlformats.org/officeDocument/2006/relationships/tags" Target="../tags/tag232.xml"/><Relationship Id="rId38" Type="http://schemas.openxmlformats.org/officeDocument/2006/relationships/tags" Target="../tags/tag231.xml"/><Relationship Id="rId37" Type="http://schemas.openxmlformats.org/officeDocument/2006/relationships/tags" Target="../tags/tag230.xml"/><Relationship Id="rId36" Type="http://schemas.openxmlformats.org/officeDocument/2006/relationships/tags" Target="../tags/tag229.xml"/><Relationship Id="rId35" Type="http://schemas.openxmlformats.org/officeDocument/2006/relationships/tags" Target="../tags/tag228.xml"/><Relationship Id="rId34" Type="http://schemas.openxmlformats.org/officeDocument/2006/relationships/tags" Target="../tags/tag227.xml"/><Relationship Id="rId33" Type="http://schemas.openxmlformats.org/officeDocument/2006/relationships/tags" Target="../tags/tag226.xml"/><Relationship Id="rId32" Type="http://schemas.openxmlformats.org/officeDocument/2006/relationships/tags" Target="../tags/tag225.xml"/><Relationship Id="rId31" Type="http://schemas.openxmlformats.org/officeDocument/2006/relationships/tags" Target="../tags/tag224.xml"/><Relationship Id="rId30" Type="http://schemas.openxmlformats.org/officeDocument/2006/relationships/tags" Target="../tags/tag223.xml"/><Relationship Id="rId3" Type="http://schemas.openxmlformats.org/officeDocument/2006/relationships/slideLayout" Target="../slideLayouts/slideLayout52.xml"/><Relationship Id="rId29" Type="http://schemas.openxmlformats.org/officeDocument/2006/relationships/tags" Target="../tags/tag222.xml"/><Relationship Id="rId28" Type="http://schemas.openxmlformats.org/officeDocument/2006/relationships/tags" Target="../tags/tag221.xml"/><Relationship Id="rId27" Type="http://schemas.openxmlformats.org/officeDocument/2006/relationships/tags" Target="../tags/tag220.xml"/><Relationship Id="rId26" Type="http://schemas.openxmlformats.org/officeDocument/2006/relationships/tags" Target="../tags/tag219.xml"/><Relationship Id="rId25" Type="http://schemas.openxmlformats.org/officeDocument/2006/relationships/tags" Target="../tags/tag218.xml"/><Relationship Id="rId24" Type="http://schemas.openxmlformats.org/officeDocument/2006/relationships/tags" Target="../tags/tag217.xml"/><Relationship Id="rId23" Type="http://schemas.openxmlformats.org/officeDocument/2006/relationships/tags" Target="../tags/tag216.xml"/><Relationship Id="rId22" Type="http://schemas.openxmlformats.org/officeDocument/2006/relationships/tags" Target="../tags/tag215.xml"/><Relationship Id="rId21" Type="http://schemas.openxmlformats.org/officeDocument/2006/relationships/tags" Target="../tags/tag214.xml"/><Relationship Id="rId20" Type="http://schemas.openxmlformats.org/officeDocument/2006/relationships/tags" Target="../tags/tag213.xml"/><Relationship Id="rId2" Type="http://schemas.openxmlformats.org/officeDocument/2006/relationships/slideLayout" Target="../slideLayouts/slideLayout51.xml"/><Relationship Id="rId19" Type="http://schemas.openxmlformats.org/officeDocument/2006/relationships/tags" Target="../tags/tag212.xml"/><Relationship Id="rId18" Type="http://schemas.openxmlformats.org/officeDocument/2006/relationships/tags" Target="../tags/tag211.xml"/><Relationship Id="rId17" Type="http://schemas.openxmlformats.org/officeDocument/2006/relationships/image" Target="../media/image13.png"/><Relationship Id="rId16" Type="http://schemas.openxmlformats.org/officeDocument/2006/relationships/image" Target="../media/image12.jpeg"/><Relationship Id="rId15" Type="http://schemas.openxmlformats.org/officeDocument/2006/relationships/image" Target="../media/image15.emf"/><Relationship Id="rId14" Type="http://schemas.openxmlformats.org/officeDocument/2006/relationships/oleObject" Target="../embeddings/oleObject31.bin"/><Relationship Id="rId13" Type="http://schemas.openxmlformats.org/officeDocument/2006/relationships/tags" Target="../tags/tag210.xml"/><Relationship Id="rId12" Type="http://schemas.openxmlformats.org/officeDocument/2006/relationships/slideLayout" Target="../slideLayouts/slideLayout61.xml"/><Relationship Id="rId11" Type="http://schemas.openxmlformats.org/officeDocument/2006/relationships/slideLayout" Target="../slideLayouts/slideLayout60.xml"/><Relationship Id="rId10" Type="http://schemas.openxmlformats.org/officeDocument/2006/relationships/slideLayout" Target="../slideLayouts/slideLayout59.xml"/><Relationship Id="rId1"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70.xml"/><Relationship Id="rId8" Type="http://schemas.openxmlformats.org/officeDocument/2006/relationships/slideLayout" Target="../slideLayouts/slideLayout69.xml"/><Relationship Id="rId7" Type="http://schemas.openxmlformats.org/officeDocument/2006/relationships/slideLayout" Target="../slideLayouts/slideLayout68.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8" Type="http://schemas.openxmlformats.org/officeDocument/2006/relationships/theme" Target="../theme/theme7.xml"/><Relationship Id="rId47" Type="http://schemas.openxmlformats.org/officeDocument/2006/relationships/vmlDrawing" Target="../drawings/vmlDrawing40.vml"/><Relationship Id="rId46" Type="http://schemas.openxmlformats.org/officeDocument/2006/relationships/tags" Target="../tags/tag283.xml"/><Relationship Id="rId45" Type="http://schemas.openxmlformats.org/officeDocument/2006/relationships/tags" Target="../tags/tag282.xml"/><Relationship Id="rId44" Type="http://schemas.openxmlformats.org/officeDocument/2006/relationships/tags" Target="../tags/tag281.xml"/><Relationship Id="rId43" Type="http://schemas.openxmlformats.org/officeDocument/2006/relationships/tags" Target="../tags/tag280.xml"/><Relationship Id="rId42" Type="http://schemas.openxmlformats.org/officeDocument/2006/relationships/tags" Target="../tags/tag279.xml"/><Relationship Id="rId41" Type="http://schemas.openxmlformats.org/officeDocument/2006/relationships/tags" Target="../tags/tag278.xml"/><Relationship Id="rId40" Type="http://schemas.openxmlformats.org/officeDocument/2006/relationships/tags" Target="../tags/tag277.xml"/><Relationship Id="rId4" Type="http://schemas.openxmlformats.org/officeDocument/2006/relationships/slideLayout" Target="../slideLayouts/slideLayout65.xml"/><Relationship Id="rId39" Type="http://schemas.openxmlformats.org/officeDocument/2006/relationships/tags" Target="../tags/tag276.xml"/><Relationship Id="rId38" Type="http://schemas.openxmlformats.org/officeDocument/2006/relationships/tags" Target="../tags/tag275.xml"/><Relationship Id="rId37" Type="http://schemas.openxmlformats.org/officeDocument/2006/relationships/tags" Target="../tags/tag274.xml"/><Relationship Id="rId36" Type="http://schemas.openxmlformats.org/officeDocument/2006/relationships/tags" Target="../tags/tag273.xml"/><Relationship Id="rId35" Type="http://schemas.openxmlformats.org/officeDocument/2006/relationships/tags" Target="../tags/tag272.xml"/><Relationship Id="rId34" Type="http://schemas.openxmlformats.org/officeDocument/2006/relationships/tags" Target="../tags/tag271.xml"/><Relationship Id="rId33" Type="http://schemas.openxmlformats.org/officeDocument/2006/relationships/tags" Target="../tags/tag270.xml"/><Relationship Id="rId32" Type="http://schemas.openxmlformats.org/officeDocument/2006/relationships/tags" Target="../tags/tag269.xml"/><Relationship Id="rId31" Type="http://schemas.openxmlformats.org/officeDocument/2006/relationships/tags" Target="../tags/tag268.xml"/><Relationship Id="rId30" Type="http://schemas.openxmlformats.org/officeDocument/2006/relationships/tags" Target="../tags/tag267.xml"/><Relationship Id="rId3" Type="http://schemas.openxmlformats.org/officeDocument/2006/relationships/slideLayout" Target="../slideLayouts/slideLayout64.xml"/><Relationship Id="rId29" Type="http://schemas.openxmlformats.org/officeDocument/2006/relationships/tags" Target="../tags/tag266.xml"/><Relationship Id="rId28" Type="http://schemas.openxmlformats.org/officeDocument/2006/relationships/tags" Target="../tags/tag265.xml"/><Relationship Id="rId27" Type="http://schemas.openxmlformats.org/officeDocument/2006/relationships/tags" Target="../tags/tag264.xml"/><Relationship Id="rId26" Type="http://schemas.openxmlformats.org/officeDocument/2006/relationships/tags" Target="../tags/tag263.xml"/><Relationship Id="rId25" Type="http://schemas.openxmlformats.org/officeDocument/2006/relationships/tags" Target="../tags/tag262.xml"/><Relationship Id="rId24" Type="http://schemas.openxmlformats.org/officeDocument/2006/relationships/tags" Target="../tags/tag261.xml"/><Relationship Id="rId23" Type="http://schemas.openxmlformats.org/officeDocument/2006/relationships/tags" Target="../tags/tag260.xml"/><Relationship Id="rId22" Type="http://schemas.openxmlformats.org/officeDocument/2006/relationships/tags" Target="../tags/tag259.xml"/><Relationship Id="rId21" Type="http://schemas.openxmlformats.org/officeDocument/2006/relationships/tags" Target="../tags/tag258.xml"/><Relationship Id="rId20" Type="http://schemas.openxmlformats.org/officeDocument/2006/relationships/tags" Target="../tags/tag257.xml"/><Relationship Id="rId2" Type="http://schemas.openxmlformats.org/officeDocument/2006/relationships/slideLayout" Target="../slideLayouts/slideLayout63.xml"/><Relationship Id="rId19" Type="http://schemas.openxmlformats.org/officeDocument/2006/relationships/tags" Target="../tags/tag256.xml"/><Relationship Id="rId18" Type="http://schemas.openxmlformats.org/officeDocument/2006/relationships/tags" Target="../tags/tag255.xml"/><Relationship Id="rId17" Type="http://schemas.openxmlformats.org/officeDocument/2006/relationships/tags" Target="../tags/tag254.xml"/><Relationship Id="rId16" Type="http://schemas.openxmlformats.org/officeDocument/2006/relationships/image" Target="../media/image13.png"/><Relationship Id="rId15" Type="http://schemas.openxmlformats.org/officeDocument/2006/relationships/image" Target="../media/image12.jpeg"/><Relationship Id="rId14" Type="http://schemas.openxmlformats.org/officeDocument/2006/relationships/image" Target="../media/image15.emf"/><Relationship Id="rId13" Type="http://schemas.openxmlformats.org/officeDocument/2006/relationships/oleObject" Target="../embeddings/oleObject40.bin"/><Relationship Id="rId12" Type="http://schemas.openxmlformats.org/officeDocument/2006/relationships/tags" Target="../tags/tag253.xml"/><Relationship Id="rId11" Type="http://schemas.openxmlformats.org/officeDocument/2006/relationships/slideLayout" Target="../slideLayouts/slideLayout72.xml"/><Relationship Id="rId10" Type="http://schemas.openxmlformats.org/officeDocument/2006/relationships/slideLayout" Target="../slideLayouts/slideLayout71.xml"/><Relationship Id="rId1"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81.xml"/><Relationship Id="rId8" Type="http://schemas.openxmlformats.org/officeDocument/2006/relationships/slideLayout" Target="../slideLayouts/slideLayout80.xml"/><Relationship Id="rId7" Type="http://schemas.openxmlformats.org/officeDocument/2006/relationships/slideLayout" Target="../slideLayouts/slideLayout79.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9" Type="http://schemas.openxmlformats.org/officeDocument/2006/relationships/theme" Target="../theme/theme8.xml"/><Relationship Id="rId48" Type="http://schemas.openxmlformats.org/officeDocument/2006/relationships/vmlDrawing" Target="../drawings/vmlDrawing48.vml"/><Relationship Id="rId47" Type="http://schemas.openxmlformats.org/officeDocument/2006/relationships/tags" Target="../tags/tag325.xml"/><Relationship Id="rId46" Type="http://schemas.openxmlformats.org/officeDocument/2006/relationships/tags" Target="../tags/tag324.xml"/><Relationship Id="rId45" Type="http://schemas.openxmlformats.org/officeDocument/2006/relationships/tags" Target="../tags/tag323.xml"/><Relationship Id="rId44" Type="http://schemas.openxmlformats.org/officeDocument/2006/relationships/tags" Target="../tags/tag322.xml"/><Relationship Id="rId43" Type="http://schemas.openxmlformats.org/officeDocument/2006/relationships/tags" Target="../tags/tag321.xml"/><Relationship Id="rId42" Type="http://schemas.openxmlformats.org/officeDocument/2006/relationships/tags" Target="../tags/tag320.xml"/><Relationship Id="rId41" Type="http://schemas.openxmlformats.org/officeDocument/2006/relationships/tags" Target="../tags/tag319.xml"/><Relationship Id="rId40" Type="http://schemas.openxmlformats.org/officeDocument/2006/relationships/tags" Target="../tags/tag318.xml"/><Relationship Id="rId4" Type="http://schemas.openxmlformats.org/officeDocument/2006/relationships/slideLayout" Target="../slideLayouts/slideLayout76.xml"/><Relationship Id="rId39" Type="http://schemas.openxmlformats.org/officeDocument/2006/relationships/tags" Target="../tags/tag317.xml"/><Relationship Id="rId38" Type="http://schemas.openxmlformats.org/officeDocument/2006/relationships/tags" Target="../tags/tag316.xml"/><Relationship Id="rId37" Type="http://schemas.openxmlformats.org/officeDocument/2006/relationships/tags" Target="../tags/tag315.xml"/><Relationship Id="rId36" Type="http://schemas.openxmlformats.org/officeDocument/2006/relationships/tags" Target="../tags/tag314.xml"/><Relationship Id="rId35" Type="http://schemas.openxmlformats.org/officeDocument/2006/relationships/tags" Target="../tags/tag313.xml"/><Relationship Id="rId34" Type="http://schemas.openxmlformats.org/officeDocument/2006/relationships/tags" Target="../tags/tag312.xml"/><Relationship Id="rId33" Type="http://schemas.openxmlformats.org/officeDocument/2006/relationships/tags" Target="../tags/tag311.xml"/><Relationship Id="rId32" Type="http://schemas.openxmlformats.org/officeDocument/2006/relationships/tags" Target="../tags/tag310.xml"/><Relationship Id="rId31" Type="http://schemas.openxmlformats.org/officeDocument/2006/relationships/tags" Target="../tags/tag309.xml"/><Relationship Id="rId30" Type="http://schemas.openxmlformats.org/officeDocument/2006/relationships/tags" Target="../tags/tag308.xml"/><Relationship Id="rId3" Type="http://schemas.openxmlformats.org/officeDocument/2006/relationships/slideLayout" Target="../slideLayouts/slideLayout75.xml"/><Relationship Id="rId29" Type="http://schemas.openxmlformats.org/officeDocument/2006/relationships/tags" Target="../tags/tag307.xml"/><Relationship Id="rId28" Type="http://schemas.openxmlformats.org/officeDocument/2006/relationships/tags" Target="../tags/tag306.xml"/><Relationship Id="rId27" Type="http://schemas.openxmlformats.org/officeDocument/2006/relationships/tags" Target="../tags/tag305.xml"/><Relationship Id="rId26" Type="http://schemas.openxmlformats.org/officeDocument/2006/relationships/tags" Target="../tags/tag304.xml"/><Relationship Id="rId25" Type="http://schemas.openxmlformats.org/officeDocument/2006/relationships/tags" Target="../tags/tag303.xml"/><Relationship Id="rId24" Type="http://schemas.openxmlformats.org/officeDocument/2006/relationships/tags" Target="../tags/tag302.xml"/><Relationship Id="rId23" Type="http://schemas.openxmlformats.org/officeDocument/2006/relationships/tags" Target="../tags/tag301.xml"/><Relationship Id="rId22" Type="http://schemas.openxmlformats.org/officeDocument/2006/relationships/tags" Target="../tags/tag300.xml"/><Relationship Id="rId21" Type="http://schemas.openxmlformats.org/officeDocument/2006/relationships/tags" Target="../tags/tag299.xml"/><Relationship Id="rId20" Type="http://schemas.openxmlformats.org/officeDocument/2006/relationships/tags" Target="../tags/tag298.xml"/><Relationship Id="rId2" Type="http://schemas.openxmlformats.org/officeDocument/2006/relationships/slideLayout" Target="../slideLayouts/slideLayout74.xml"/><Relationship Id="rId19" Type="http://schemas.openxmlformats.org/officeDocument/2006/relationships/tags" Target="../tags/tag297.xml"/><Relationship Id="rId18" Type="http://schemas.openxmlformats.org/officeDocument/2006/relationships/tags" Target="../tags/tag296.xml"/><Relationship Id="rId17" Type="http://schemas.openxmlformats.org/officeDocument/2006/relationships/image" Target="../media/image13.png"/><Relationship Id="rId16" Type="http://schemas.openxmlformats.org/officeDocument/2006/relationships/image" Target="../media/image12.jpeg"/><Relationship Id="rId15" Type="http://schemas.openxmlformats.org/officeDocument/2006/relationships/image" Target="../media/image15.emf"/><Relationship Id="rId14" Type="http://schemas.openxmlformats.org/officeDocument/2006/relationships/oleObject" Target="../embeddings/oleObject48.bin"/><Relationship Id="rId13" Type="http://schemas.openxmlformats.org/officeDocument/2006/relationships/tags" Target="../tags/tag295.xml"/><Relationship Id="rId12" Type="http://schemas.openxmlformats.org/officeDocument/2006/relationships/slideLayout" Target="../slideLayouts/slideLayout84.xml"/><Relationship Id="rId11" Type="http://schemas.openxmlformats.org/officeDocument/2006/relationships/slideLayout" Target="../slideLayouts/slideLayout83.xml"/><Relationship Id="rId10" Type="http://schemas.openxmlformats.org/officeDocument/2006/relationships/slideLayout" Target="../slideLayouts/slideLayout82.xml"/><Relationship Id="rId1" Type="http://schemas.openxmlformats.org/officeDocument/2006/relationships/slideLayout" Target="../slideLayouts/slideLayout73.xml"/></Relationships>
</file>

<file path=ppt/slideMasters/_rels/slideMaster9.xml.rels><?xml version="1.0" encoding="UTF-8" standalone="yes"?>
<Relationships xmlns="http://schemas.openxmlformats.org/package/2006/relationships"><Relationship Id="rId9" Type="http://schemas.openxmlformats.org/officeDocument/2006/relationships/oleObject" Target="../embeddings/oleObject56.bin"/><Relationship Id="rId8" Type="http://schemas.openxmlformats.org/officeDocument/2006/relationships/tags" Target="../tags/tag337.xml"/><Relationship Id="rId7" Type="http://schemas.openxmlformats.org/officeDocument/2006/relationships/slideLayout" Target="../slideLayouts/slideLayout91.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4" Type="http://schemas.openxmlformats.org/officeDocument/2006/relationships/theme" Target="../theme/theme9.xml"/><Relationship Id="rId43" Type="http://schemas.openxmlformats.org/officeDocument/2006/relationships/vmlDrawing" Target="../drawings/vmlDrawing56.vml"/><Relationship Id="rId42" Type="http://schemas.openxmlformats.org/officeDocument/2006/relationships/tags" Target="../tags/tag367.xml"/><Relationship Id="rId41" Type="http://schemas.openxmlformats.org/officeDocument/2006/relationships/tags" Target="../tags/tag366.xml"/><Relationship Id="rId40" Type="http://schemas.openxmlformats.org/officeDocument/2006/relationships/tags" Target="../tags/tag365.xml"/><Relationship Id="rId4" Type="http://schemas.openxmlformats.org/officeDocument/2006/relationships/slideLayout" Target="../slideLayouts/slideLayout88.xml"/><Relationship Id="rId39" Type="http://schemas.openxmlformats.org/officeDocument/2006/relationships/tags" Target="../tags/tag364.xml"/><Relationship Id="rId38" Type="http://schemas.openxmlformats.org/officeDocument/2006/relationships/tags" Target="../tags/tag363.xml"/><Relationship Id="rId37" Type="http://schemas.openxmlformats.org/officeDocument/2006/relationships/tags" Target="../tags/tag362.xml"/><Relationship Id="rId36" Type="http://schemas.openxmlformats.org/officeDocument/2006/relationships/tags" Target="../tags/tag361.xml"/><Relationship Id="rId35" Type="http://schemas.openxmlformats.org/officeDocument/2006/relationships/tags" Target="../tags/tag360.xml"/><Relationship Id="rId34" Type="http://schemas.openxmlformats.org/officeDocument/2006/relationships/tags" Target="../tags/tag359.xml"/><Relationship Id="rId33" Type="http://schemas.openxmlformats.org/officeDocument/2006/relationships/tags" Target="../tags/tag358.xml"/><Relationship Id="rId32" Type="http://schemas.openxmlformats.org/officeDocument/2006/relationships/tags" Target="../tags/tag357.xml"/><Relationship Id="rId31" Type="http://schemas.openxmlformats.org/officeDocument/2006/relationships/tags" Target="../tags/tag356.xml"/><Relationship Id="rId30" Type="http://schemas.openxmlformats.org/officeDocument/2006/relationships/tags" Target="../tags/tag355.xml"/><Relationship Id="rId3" Type="http://schemas.openxmlformats.org/officeDocument/2006/relationships/slideLayout" Target="../slideLayouts/slideLayout87.xml"/><Relationship Id="rId29" Type="http://schemas.openxmlformats.org/officeDocument/2006/relationships/tags" Target="../tags/tag354.xml"/><Relationship Id="rId28" Type="http://schemas.openxmlformats.org/officeDocument/2006/relationships/tags" Target="../tags/tag353.xml"/><Relationship Id="rId27" Type="http://schemas.openxmlformats.org/officeDocument/2006/relationships/tags" Target="../tags/tag352.xml"/><Relationship Id="rId26" Type="http://schemas.openxmlformats.org/officeDocument/2006/relationships/tags" Target="../tags/tag351.xml"/><Relationship Id="rId25" Type="http://schemas.openxmlformats.org/officeDocument/2006/relationships/tags" Target="../tags/tag350.xml"/><Relationship Id="rId24" Type="http://schemas.openxmlformats.org/officeDocument/2006/relationships/tags" Target="../tags/tag349.xml"/><Relationship Id="rId23" Type="http://schemas.openxmlformats.org/officeDocument/2006/relationships/tags" Target="../tags/tag348.xml"/><Relationship Id="rId22" Type="http://schemas.openxmlformats.org/officeDocument/2006/relationships/tags" Target="../tags/tag347.xml"/><Relationship Id="rId21" Type="http://schemas.openxmlformats.org/officeDocument/2006/relationships/tags" Target="../tags/tag346.xml"/><Relationship Id="rId20" Type="http://schemas.openxmlformats.org/officeDocument/2006/relationships/tags" Target="../tags/tag345.xml"/><Relationship Id="rId2" Type="http://schemas.openxmlformats.org/officeDocument/2006/relationships/slideLayout" Target="../slideLayouts/slideLayout86.xml"/><Relationship Id="rId19" Type="http://schemas.openxmlformats.org/officeDocument/2006/relationships/tags" Target="../tags/tag344.xml"/><Relationship Id="rId18" Type="http://schemas.openxmlformats.org/officeDocument/2006/relationships/tags" Target="../tags/tag343.xml"/><Relationship Id="rId17" Type="http://schemas.openxmlformats.org/officeDocument/2006/relationships/tags" Target="../tags/tag342.xml"/><Relationship Id="rId16" Type="http://schemas.openxmlformats.org/officeDocument/2006/relationships/tags" Target="../tags/tag341.xml"/><Relationship Id="rId15" Type="http://schemas.openxmlformats.org/officeDocument/2006/relationships/tags" Target="../tags/tag340.xml"/><Relationship Id="rId14" Type="http://schemas.openxmlformats.org/officeDocument/2006/relationships/tags" Target="../tags/tag339.xml"/><Relationship Id="rId13" Type="http://schemas.openxmlformats.org/officeDocument/2006/relationships/tags" Target="../tags/tag338.xml"/><Relationship Id="rId12" Type="http://schemas.openxmlformats.org/officeDocument/2006/relationships/image" Target="../media/image13.png"/><Relationship Id="rId11" Type="http://schemas.openxmlformats.org/officeDocument/2006/relationships/image" Target="../media/image12.jpeg"/><Relationship Id="rId10" Type="http://schemas.openxmlformats.org/officeDocument/2006/relationships/image" Target="../media/image15.emf"/><Relationship Id="rId1"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7" name="任意多边形: 形状 16"/>
          <p:cNvSpPr/>
          <p:nvPr>
            <p:custDataLst>
              <p:tags r:id="rId14"/>
            </p:custDataLst>
          </p:nvPr>
        </p:nvSpPr>
        <p:spPr>
          <a:xfrm>
            <a:off x="11038205" y="5814695"/>
            <a:ext cx="1153795" cy="1043940"/>
          </a:xfrm>
          <a:custGeom>
            <a:avLst/>
            <a:gdLst>
              <a:gd name="connsiteX0" fmla="*/ 1663756 w 1663756"/>
              <a:gd name="connsiteY0" fmla="*/ 0 h 1505347"/>
              <a:gd name="connsiteX1" fmla="*/ 1663448 w 1663756"/>
              <a:gd name="connsiteY1" fmla="*/ 721124 h 1505347"/>
              <a:gd name="connsiteX2" fmla="*/ 1559311 w 1663756"/>
              <a:gd name="connsiteY2" fmla="*/ 738909 h 1505347"/>
              <a:gd name="connsiteX3" fmla="*/ 1345905 w 1663756"/>
              <a:gd name="connsiteY3" fmla="*/ 810930 h 1505347"/>
              <a:gd name="connsiteX4" fmla="*/ 761888 w 1663756"/>
              <a:gd name="connsiteY4" fmla="*/ 1432106 h 1505347"/>
              <a:gd name="connsiteX5" fmla="*/ 738539 w 1663756"/>
              <a:gd name="connsiteY5" fmla="*/ 1505347 h 1505347"/>
              <a:gd name="connsiteX6" fmla="*/ 699919 w 1663756"/>
              <a:gd name="connsiteY6" fmla="*/ 1504681 h 1505347"/>
              <a:gd name="connsiteX7" fmla="*/ 0 w 1663756"/>
              <a:gd name="connsiteY7" fmla="*/ 1505295 h 1505347"/>
              <a:gd name="connsiteX8" fmla="*/ 35272 w 1663756"/>
              <a:gd name="connsiteY8" fmla="*/ 1345860 h 1505347"/>
              <a:gd name="connsiteX9" fmla="*/ 1049799 w 1663756"/>
              <a:gd name="connsiteY9" fmla="*/ 155437 h 1505347"/>
              <a:gd name="connsiteX10" fmla="*/ 1580244 w 1663756"/>
              <a:gd name="connsiteY10" fmla="*/ 6378 h 1505347"/>
              <a:gd name="connsiteX11" fmla="*/ 1663756 w 1663756"/>
              <a:gd name="connsiteY11" fmla="*/ 0 h 150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3756" h="1505347">
                <a:moveTo>
                  <a:pt x="1663756" y="0"/>
                </a:moveTo>
                <a:lnTo>
                  <a:pt x="1663448" y="721124"/>
                </a:lnTo>
                <a:lnTo>
                  <a:pt x="1559311" y="738909"/>
                </a:lnTo>
                <a:cubicBezTo>
                  <a:pt x="1487335" y="755400"/>
                  <a:pt x="1415920" y="779302"/>
                  <a:pt x="1345905" y="810930"/>
                </a:cubicBezTo>
                <a:cubicBezTo>
                  <a:pt x="1065266" y="937703"/>
                  <a:pt x="863047" y="1165585"/>
                  <a:pt x="761888" y="1432106"/>
                </a:cubicBezTo>
                <a:lnTo>
                  <a:pt x="738539" y="1505347"/>
                </a:lnTo>
                <a:lnTo>
                  <a:pt x="699919" y="1504681"/>
                </a:lnTo>
                <a:lnTo>
                  <a:pt x="0" y="1505295"/>
                </a:lnTo>
                <a:lnTo>
                  <a:pt x="35272" y="1345860"/>
                </a:lnTo>
                <a:cubicBezTo>
                  <a:pt x="174165" y="835899"/>
                  <a:pt x="530762" y="389902"/>
                  <a:pt x="1049799" y="155437"/>
                </a:cubicBezTo>
                <a:cubicBezTo>
                  <a:pt x="1222812" y="77282"/>
                  <a:pt x="1401220" y="28037"/>
                  <a:pt x="1580244" y="6378"/>
                </a:cubicBezTo>
                <a:lnTo>
                  <a:pt x="1663756" y="0"/>
                </a:lnTo>
                <a:close/>
              </a:path>
            </a:pathLst>
          </a:custGeom>
          <a:gradFill flip="none" rotWithShape="1">
            <a:gsLst>
              <a:gs pos="18000">
                <a:schemeClr val="accent1">
                  <a:alpha val="0"/>
                </a:schemeClr>
              </a:gs>
              <a:gs pos="74000">
                <a:schemeClr val="accent1">
                  <a:alpha val="67000"/>
                </a:schemeClr>
              </a:gs>
            </a:gsLst>
            <a:lin ang="13500000" scaled="1"/>
            <a:tileRect/>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20" name="任意多边形: 形状 19"/>
          <p:cNvSpPr/>
          <p:nvPr>
            <p:custDataLst>
              <p:tags r:id="rId15"/>
            </p:custDataLst>
          </p:nvPr>
        </p:nvSpPr>
        <p:spPr>
          <a:xfrm>
            <a:off x="-6092" y="2573"/>
            <a:ext cx="683878" cy="728321"/>
          </a:xfrm>
          <a:custGeom>
            <a:avLst/>
            <a:gdLst>
              <a:gd name="connsiteX0" fmla="*/ 604834 w 683878"/>
              <a:gd name="connsiteY0" fmla="*/ 0 h 728321"/>
              <a:gd name="connsiteX1" fmla="*/ 648236 w 683878"/>
              <a:gd name="connsiteY1" fmla="*/ 80864 h 728321"/>
              <a:gd name="connsiteX2" fmla="*/ 394224 w 683878"/>
              <a:gd name="connsiteY2" fmla="*/ 692631 h 728321"/>
              <a:gd name="connsiteX3" fmla="*/ 35673 w 683878"/>
              <a:gd name="connsiteY3" fmla="*/ 692469 h 728321"/>
              <a:gd name="connsiteX4" fmla="*/ 0 w 683878"/>
              <a:gd name="connsiteY4" fmla="*/ 673504 h 728321"/>
              <a:gd name="connsiteX5" fmla="*/ 45 w 683878"/>
              <a:gd name="connsiteY5" fmla="*/ 397741 h 728321"/>
              <a:gd name="connsiteX6" fmla="*/ 3110 w 683878"/>
              <a:gd name="connsiteY6" fmla="*/ 403451 h 728321"/>
              <a:gd name="connsiteX7" fmla="*/ 313115 w 683878"/>
              <a:gd name="connsiteY7" fmla="*/ 496476 h 728321"/>
              <a:gd name="connsiteX8" fmla="*/ 451989 w 683878"/>
              <a:gd name="connsiteY8" fmla="*/ 162010 h 728321"/>
              <a:gd name="connsiteX9" fmla="*/ 117459 w 683878"/>
              <a:gd name="connsiteY9" fmla="*/ 23293 h 728321"/>
              <a:gd name="connsiteX10" fmla="*/ 1825 w 683878"/>
              <a:gd name="connsiteY10" fmla="*/ 118421 h 728321"/>
              <a:gd name="connsiteX11" fmla="*/ 91 w 683878"/>
              <a:gd name="connsiteY11" fmla="*/ 121677 h 728321"/>
              <a:gd name="connsiteX12" fmla="*/ 111 w 683878"/>
              <a:gd name="connsiteY12" fmla="*/ 100 h 728321"/>
              <a:gd name="connsiteX13" fmla="*/ 604834 w 683878"/>
              <a:gd name="connsiteY13" fmla="*/ 0 h 72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878" h="728321">
                <a:moveTo>
                  <a:pt x="604834" y="0"/>
                </a:moveTo>
                <a:lnTo>
                  <a:pt x="648236" y="80864"/>
                </a:lnTo>
                <a:cubicBezTo>
                  <a:pt x="747060" y="319863"/>
                  <a:pt x="633335" y="593761"/>
                  <a:pt x="394224" y="692631"/>
                </a:cubicBezTo>
                <a:cubicBezTo>
                  <a:pt x="274668" y="742067"/>
                  <a:pt x="146403" y="738385"/>
                  <a:pt x="35673" y="692469"/>
                </a:cubicBezTo>
                <a:lnTo>
                  <a:pt x="0" y="673504"/>
                </a:lnTo>
                <a:lnTo>
                  <a:pt x="45" y="397741"/>
                </a:lnTo>
                <a:lnTo>
                  <a:pt x="3110" y="403451"/>
                </a:lnTo>
                <a:cubicBezTo>
                  <a:pt x="69761" y="502135"/>
                  <a:pt x="198730" y="543773"/>
                  <a:pt x="313115" y="496476"/>
                </a:cubicBezTo>
                <a:cubicBezTo>
                  <a:pt x="443842" y="442421"/>
                  <a:pt x="506018" y="292676"/>
                  <a:pt x="451989" y="162010"/>
                </a:cubicBezTo>
                <a:cubicBezTo>
                  <a:pt x="397960" y="31345"/>
                  <a:pt x="248185" y="-30762"/>
                  <a:pt x="117459" y="23293"/>
                </a:cubicBezTo>
                <a:cubicBezTo>
                  <a:pt x="68436" y="43563"/>
                  <a:pt x="29053" y="77290"/>
                  <a:pt x="1825" y="118421"/>
                </a:cubicBezTo>
                <a:lnTo>
                  <a:pt x="91" y="121677"/>
                </a:lnTo>
                <a:lnTo>
                  <a:pt x="111" y="100"/>
                </a:lnTo>
                <a:lnTo>
                  <a:pt x="604834" y="0"/>
                </a:lnTo>
                <a:close/>
              </a:path>
            </a:pathLst>
          </a:custGeom>
          <a:gradFill flip="none" rotWithShape="1">
            <a:gsLst>
              <a:gs pos="33000">
                <a:schemeClr val="bg1">
                  <a:alpha val="0"/>
                </a:schemeClr>
              </a:gs>
              <a:gs pos="88000">
                <a:schemeClr val="accent1">
                  <a:alpha val="50000"/>
                </a:schemeClr>
              </a:gs>
            </a:gsLst>
            <a:path path="circle">
              <a:fillToRect r="100000" b="100000"/>
            </a:path>
            <a:tileRect l="-100000" t="-100000"/>
          </a:gradFill>
          <a:ln>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10" name="日期占位符 9"/>
          <p:cNvSpPr>
            <a:spLocks noGrp="1"/>
          </p:cNvSpPr>
          <p:nvPr>
            <p:ph type="dt" sz="half" idx="10"/>
            <p:custDataLst>
              <p:tags r:id="rId16"/>
            </p:custDataLst>
          </p:nvPr>
        </p:nvSpPr>
        <p:spPr>
          <a:xfrm>
            <a:off x="695960" y="6356350"/>
            <a:ext cx="2743200" cy="365125"/>
          </a:xfrm>
        </p:spPr>
        <p:txBody>
          <a:bodyPr/>
          <a:lstStyle>
            <a:lvl1pPr>
              <a:defRPr>
                <a:latin typeface="微软雅黑" panose="020B0503020204020204" charset="-122"/>
                <a:ea typeface="微软雅黑" panose="020B0503020204020204" charset="-122"/>
                <a:cs typeface="微软雅黑" panose="020B0503020204020204" charset="-122"/>
              </a:defRPr>
            </a:lvl1pPr>
          </a:lstStyle>
          <a:p>
            <a:fld id="{760FBDFE-C587-4B4C-A407-44438C67B59E}" type="datetimeFigureOut">
              <a:rPr lang="zh-CN" altLang="en-US" smtClean="0"/>
            </a:fld>
            <a:endParaRPr lang="zh-CN" altLang="en-US"/>
          </a:p>
        </p:txBody>
      </p:sp>
      <p:sp>
        <p:nvSpPr>
          <p:cNvPr id="12" name="页脚占位符 11"/>
          <p:cNvSpPr>
            <a:spLocks noGrp="1"/>
          </p:cNvSpPr>
          <p:nvPr>
            <p:ph type="ftr" sz="quarter" idx="11"/>
            <p:custDataLst>
              <p:tags r:id="rId17"/>
            </p:custDataLst>
          </p:nvPr>
        </p:nvSpPr>
        <p:spPr>
          <a:xfrm>
            <a:off x="4038600" y="6356350"/>
            <a:ext cx="4114800" cy="365125"/>
          </a:xfrm>
        </p:spPr>
        <p:txBody>
          <a:bodyPr/>
          <a:lstStyle>
            <a:lvl1pPr>
              <a:defRPr>
                <a:latin typeface="微软雅黑" panose="020B0503020204020204" charset="-122"/>
                <a:ea typeface="微软雅黑" panose="020B0503020204020204" charset="-122"/>
                <a:cs typeface="微软雅黑" panose="020B0503020204020204" charset="-122"/>
              </a:defRPr>
            </a:lvl1pPr>
          </a:lstStyle>
          <a:p>
            <a:endParaRPr lang="zh-CN" altLang="en-US" dirty="0"/>
          </a:p>
        </p:txBody>
      </p:sp>
      <p:sp>
        <p:nvSpPr>
          <p:cNvPr id="13" name="灯片编号占位符 12"/>
          <p:cNvSpPr>
            <a:spLocks noGrp="1"/>
          </p:cNvSpPr>
          <p:nvPr>
            <p:ph type="sldNum" sz="quarter" idx="12"/>
            <p:custDataLst>
              <p:tags r:id="rId18"/>
            </p:custDataLst>
          </p:nvPr>
        </p:nvSpPr>
        <p:spPr>
          <a:xfrm>
            <a:off x="8753983" y="6356350"/>
            <a:ext cx="2743200" cy="365125"/>
          </a:xfrm>
        </p:spPr>
        <p:txBody>
          <a:bodyPr/>
          <a:lstStyle>
            <a:lvl1pPr>
              <a:defRPr>
                <a:latin typeface="微软雅黑" panose="020B0503020204020204" charset="-122"/>
                <a:ea typeface="微软雅黑" panose="020B0503020204020204" charset="-122"/>
                <a:cs typeface="微软雅黑" panose="020B0503020204020204" charset="-122"/>
              </a:defRPr>
            </a:lvl1pPr>
          </a:lstStyle>
          <a:p>
            <a:fld id="{49AE70B2-8BF9-45C0-BB95-33D1B9D3A854}" type="slidenum">
              <a:rPr lang="zh-CN" altLang="en-US" smtClean="0"/>
            </a:fld>
            <a:endParaRPr lang="zh-CN" altLang="en-US" dirty="0"/>
          </a:p>
        </p:txBody>
      </p:sp>
      <p:sp>
        <p:nvSpPr>
          <p:cNvPr id="2" name="文本占位符 1"/>
          <p:cNvSpPr>
            <a:spLocks noGrp="1"/>
          </p:cNvSpPr>
          <p:nvPr>
            <p:ph type="body" idx="1"/>
            <p:custDataLst>
              <p:tags r:id="rId19"/>
            </p:custDataLst>
          </p:nvPr>
        </p:nvSpPr>
        <p:spPr>
          <a:xfrm>
            <a:off x="695960" y="1301749"/>
            <a:ext cx="10800000" cy="4873625"/>
          </a:xfrm>
          <a:prstGeom prst="rect">
            <a:avLst/>
          </a:prstGeom>
          <a:ln>
            <a:noFill/>
            <a:prstDash val="sysDash"/>
          </a:ln>
        </p:spPr>
        <p:txBody>
          <a:bodyPr vert="horz" lIns="90000" tIns="46800" rIns="90000" bIns="46800" rtlCol="0">
            <a:normAutofit/>
          </a:bodyPr>
          <a:lstStyle/>
          <a:p>
            <a:pPr marR="0" lvl="0" fontAlgn="auto">
              <a:lnSpc>
                <a:spcPct val="130000"/>
              </a:lnSpc>
              <a:spcBef>
                <a:spcPts val="1200"/>
              </a:spcBef>
              <a:spcAft>
                <a:spcPts val="0"/>
              </a:spcAft>
              <a:buClr>
                <a:srgbClr val="116CEE"/>
              </a:buClr>
              <a:buSzTx/>
              <a:buChar char="●"/>
            </a:pPr>
            <a:r>
              <a:rPr lang="zh-CN" altLang="en-US" dirty="0"/>
              <a:t>单击此处编辑母版文本样式</a:t>
            </a:r>
            <a:endParaRPr lang="zh-CN" altLang="en-US" dirty="0"/>
          </a:p>
          <a:p>
            <a:pPr lvl="1">
              <a:buChar char="●"/>
              <a:tabLst>
                <a:tab pos="1609725" algn="l"/>
              </a:tabLst>
            </a:pPr>
            <a:r>
              <a:rPr lang="zh-CN" altLang="en-US" dirty="0"/>
              <a:t>二级</a:t>
            </a:r>
            <a:endParaRPr lang="zh-CN" altLang="en-US" dirty="0"/>
          </a:p>
          <a:p>
            <a:pPr lvl="2">
              <a:buChar char="●"/>
            </a:pPr>
            <a:r>
              <a:rPr lang="zh-CN" altLang="en-US" dirty="0"/>
              <a:t>三级</a:t>
            </a:r>
            <a:endParaRPr lang="zh-CN" altLang="en-US" dirty="0"/>
          </a:p>
          <a:p>
            <a:pPr lvl="3">
              <a:buFont typeface="Wingdings" panose="05000000000000000000" charset="0"/>
              <a:buChar char=""/>
            </a:pPr>
            <a:r>
              <a:rPr lang="zh-CN" altLang="en-US" dirty="0"/>
              <a:t>四级</a:t>
            </a:r>
            <a:endParaRPr lang="zh-CN" altLang="en-US" dirty="0"/>
          </a:p>
          <a:p>
            <a:pPr lvl="4"/>
            <a:r>
              <a:rPr lang="zh-CN" altLang="en-US" dirty="0"/>
              <a:t>五级</a:t>
            </a:r>
            <a:endParaRPr lang="zh-CN" altLang="en-US" dirty="0"/>
          </a:p>
        </p:txBody>
      </p:sp>
      <p:sp>
        <p:nvSpPr>
          <p:cNvPr id="3" name="标题占位符 2"/>
          <p:cNvSpPr>
            <a:spLocks noGrp="1"/>
          </p:cNvSpPr>
          <p:nvPr>
            <p:ph type="title"/>
            <p:custDataLst>
              <p:tags r:id="rId20"/>
            </p:custDataLst>
          </p:nvPr>
        </p:nvSpPr>
        <p:spPr>
          <a:xfrm>
            <a:off x="695960" y="360000"/>
            <a:ext cx="10800000" cy="720000"/>
          </a:xfrm>
          <a:prstGeom prst="rect">
            <a:avLst/>
          </a:prstGeom>
          <a:noFill/>
          <a:ln>
            <a:noFill/>
            <a:prstDash val="sysDash"/>
          </a:ln>
        </p:spPr>
        <p:txBody>
          <a:bodyPr vert="horz" wrap="square" lIns="91440" tIns="45720" rIns="91440" bIns="45720" rtlCol="0" anchor="ctr">
            <a:normAutofit/>
          </a:bodyPr>
          <a:lstStyle/>
          <a:p>
            <a:pPr marL="0" marR="0" lvl="0" fontAlgn="auto">
              <a:lnSpc>
                <a:spcPct val="100000"/>
              </a:lnSpc>
              <a:buClrTx/>
              <a:buSzTx/>
              <a:buFontTx/>
            </a:pPr>
            <a:r>
              <a:rPr lang="zh-CN" altLang="en-US" dirty="0"/>
              <a:t>单击此处编辑母版标题样式</a:t>
            </a:r>
            <a:endParaRPr lang="zh-CN" altLang="en-US" dirty="0"/>
          </a:p>
        </p:txBody>
      </p:sp>
      <p:sp>
        <p:nvSpPr>
          <p:cNvPr id="5" name="KSO_TEMPLATE" hidden="1"/>
          <p:cNvSpPr/>
          <p:nvPr>
            <p:custDataLst>
              <p:tags r:id="rId21"/>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charset="-122"/>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dt="0"/>
  <p:txStyles>
    <p:titleStyle>
      <a:lvl1pPr algn="l" defTabSz="914400" rtl="0" eaLnBrk="1" latinLnBrk="0" hangingPunct="1">
        <a:lnSpc>
          <a:spcPct val="90000"/>
        </a:lnSpc>
        <a:spcBef>
          <a:spcPct val="0"/>
        </a:spcBef>
        <a:buNone/>
        <a:defRPr kumimoji="0" lang="zh-CN" altLang="en-US" sz="3200" b="1" i="0" u="none" strike="noStrike" kern="1200" cap="none" spc="300" normalizeH="0" baseline="0" dirty="0" smtClean="0">
          <a:ln>
            <a:noFill/>
            <a:prstDash val="sysDot"/>
          </a:ln>
          <a:solidFill>
            <a:schemeClr val="accent1"/>
          </a:solidFill>
          <a:latin typeface="微软雅黑" panose="020B0503020204020204" charset="-122"/>
          <a:ea typeface="微软雅黑" panose="020B0503020204020204" charset="-122"/>
          <a:cs typeface="微软雅黑" panose="020B0503020204020204"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0" lang="zh-CN" altLang="en-US" sz="1800" b="0" i="0" u="none" strike="noStrike" kern="1200" cap="none" spc="150" normalizeH="0" baseline="0" noProof="1" dirty="0">
          <a:ln>
            <a:noFill/>
            <a:prstDash val="sysDot"/>
          </a:ln>
          <a:solidFill>
            <a:schemeClr val="tx1">
              <a:lumMod val="75000"/>
              <a:lumOff val="25000"/>
            </a:schemeClr>
          </a:solidFill>
          <a:uFillTx/>
          <a:latin typeface="微软雅黑" panose="020B0503020204020204" charset="-122"/>
          <a:ea typeface="微软雅黑" panose="020B0503020204020204" charset="-122"/>
          <a:cs typeface="微软雅黑" panose="020B0503020204020204" charset="-122"/>
          <a:sym typeface="微软雅黑" panose="020B0503020204020204" charset="-122"/>
        </a:defRPr>
      </a:lvl1pPr>
      <a:lvl2pPr marL="685800" marR="0" indent="-228600" algn="l" defTabSz="914400" rtl="0" eaLnBrk="1" fontAlgn="auto" latinLnBrk="0" hangingPunct="1">
        <a:lnSpc>
          <a:spcPct val="120000"/>
        </a:lnSpc>
        <a:spcBef>
          <a:spcPts val="1200"/>
        </a:spcBef>
        <a:spcAft>
          <a:spcPts val="0"/>
        </a:spcAft>
        <a:buClr>
          <a:srgbClr val="116CEE"/>
        </a:buClr>
        <a:buFont typeface="Arial" panose="020B0604020202020204" pitchFamily="34" charset="0"/>
        <a:buChar char="•"/>
        <a:defRPr kumimoji="0" lang="zh-CN" altLang="en-US" sz="1600" b="0" i="0" u="none" strike="noStrike" kern="1200" cap="none" spc="150" normalizeH="0" baseline="0" dirty="0">
          <a:solidFill>
            <a:schemeClr val="tx1">
              <a:lumMod val="50000"/>
              <a:lumOff val="50000"/>
            </a:schemeClr>
          </a:solidFill>
          <a:uFillTx/>
          <a:latin typeface="微软雅黑" panose="020B0503020204020204" charset="-122"/>
          <a:ea typeface="微软雅黑" panose="020B0503020204020204" charset="-122"/>
          <a:cs typeface="微软雅黑" panose="020B0503020204020204" charset="-122"/>
        </a:defRPr>
      </a:lvl2pPr>
      <a:lvl3pPr marL="1143000" marR="0" indent="-228600" algn="l" defTabSz="914400" rtl="0" eaLnBrk="1" fontAlgn="auto" latinLnBrk="0" hangingPunct="1">
        <a:lnSpc>
          <a:spcPct val="120000"/>
        </a:lnSpc>
        <a:spcBef>
          <a:spcPts val="1200"/>
        </a:spcBef>
        <a:spcAft>
          <a:spcPts val="0"/>
        </a:spcAft>
        <a:buClr>
          <a:srgbClr val="116CEE"/>
        </a:buClr>
        <a:buFont typeface="Arial" panose="020B0604020202020204" pitchFamily="34" charset="0"/>
        <a:buChar char="•"/>
        <a:defRPr kumimoji="0" lang="zh-CN" altLang="en-US" sz="1600" b="0" i="0" u="none" strike="noStrike" kern="1200" cap="none" spc="150" normalizeH="0" baseline="0" dirty="0">
          <a:solidFill>
            <a:schemeClr val="tx1">
              <a:lumMod val="50000"/>
              <a:lumOff val="50000"/>
            </a:schemeClr>
          </a:solidFill>
          <a:uFillTx/>
          <a:latin typeface="微软雅黑" panose="020B0503020204020204" charset="-122"/>
          <a:ea typeface="微软雅黑" panose="020B0503020204020204" charset="-122"/>
          <a:cs typeface="微软雅黑" panose="020B0503020204020204" charset="-122"/>
        </a:defRPr>
      </a:lvl3pPr>
      <a:lvl4pPr marL="1600200" marR="0" indent="-228600" algn="l" defTabSz="914400" rtl="0" eaLnBrk="1" fontAlgn="auto" latinLnBrk="0" hangingPunct="1">
        <a:lnSpc>
          <a:spcPct val="120000"/>
        </a:lnSpc>
        <a:spcBef>
          <a:spcPts val="1200"/>
        </a:spcBef>
        <a:spcAft>
          <a:spcPts val="0"/>
        </a:spcAft>
        <a:buClr>
          <a:srgbClr val="116CEE"/>
        </a:buClr>
        <a:buFont typeface="Arial" panose="020B0604020202020204" pitchFamily="34" charset="0"/>
        <a:buChar char="•"/>
        <a:defRPr kumimoji="0" lang="zh-CN" altLang="en-US" sz="1400" b="0" i="0" u="none" strike="noStrike" kern="1200" cap="none" spc="150" normalizeH="0" baseline="0" dirty="0">
          <a:solidFill>
            <a:schemeClr val="tx1">
              <a:lumMod val="50000"/>
              <a:lumOff val="50000"/>
            </a:schemeClr>
          </a:solidFill>
          <a:uFillTx/>
          <a:latin typeface="微软雅黑" panose="020B0503020204020204" charset="-122"/>
          <a:ea typeface="微软雅黑" panose="020B0503020204020204" charset="-122"/>
          <a:cs typeface="微软雅黑" panose="020B0503020204020204" charset="-122"/>
        </a:defRPr>
      </a:lvl4pPr>
      <a:lvl5pPr marL="2057400" marR="0" indent="-228600" algn="l" defTabSz="914400" rtl="0" eaLnBrk="1" fontAlgn="auto" latinLnBrk="0" hangingPunct="1">
        <a:lnSpc>
          <a:spcPct val="120000"/>
        </a:lnSpc>
        <a:spcBef>
          <a:spcPts val="1200"/>
        </a:spcBef>
        <a:spcAft>
          <a:spcPts val="0"/>
        </a:spcAft>
        <a:buClr>
          <a:srgbClr val="116CEE"/>
        </a:buClr>
        <a:buFont typeface="Arial" panose="020B0604020202020204" pitchFamily="34" charset="0"/>
        <a:buChar char="•"/>
        <a:defRPr kumimoji="0" lang="zh-CN" altLang="en-US" sz="1400" b="0" i="0" u="none" strike="noStrike" kern="1200" cap="none" spc="150" normalizeH="0" baseline="0" dirty="0">
          <a:solidFill>
            <a:schemeClr val="tx1">
              <a:lumMod val="50000"/>
              <a:lumOff val="50000"/>
            </a:schemeClr>
          </a:solidFill>
          <a:uFillTx/>
          <a:latin typeface="微软雅黑" panose="020B0503020204020204" charset="-122"/>
          <a:ea typeface="微软雅黑" panose="020B0503020204020204" charset="-122"/>
          <a:cs typeface="微软雅黑" panose="020B0503020204020204"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1"/>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4" imgW="12700" imgH="12700" progId="TCLayout.ActiveDocument.1">
                  <p:embed/>
                </p:oleObj>
              </mc:Choice>
              <mc:Fallback>
                <p:oleObj name="think-cell 幻灯片" r:id="rId14" imgW="12700" imgH="12700" progId="TCLayout.ActiveDocument.1">
                  <p:embed/>
                  <p:pic>
                    <p:nvPicPr>
                      <p:cNvPr id="0" name="Object 1" hidden="1"/>
                      <p:cNvPicPr/>
                      <p:nvPr/>
                    </p:nvPicPr>
                    <p:blipFill>
                      <a:blip r:embed="rId15"/>
                      <a:stretch>
                        <a:fillRect/>
                      </a:stretch>
                    </p:blipFill>
                    <p:spPr>
                      <a:xfrm>
                        <a:off x="0" y="1"/>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6"/>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a:t>Click to edit Master text styles</a:t>
            </a:r>
            <a:endParaRPr lang="en-US" altLang="zh-CN"/>
          </a:p>
          <a:p>
            <a:pPr lvl="1" latinLnBrk="0"/>
            <a:r>
              <a:rPr lang="en-US" altLang="zh-CN"/>
              <a:t>Second level</a:t>
            </a:r>
            <a:endParaRPr lang="en-US" altLang="zh-CN"/>
          </a:p>
          <a:p>
            <a:pPr lvl="2" latinLnBrk="0"/>
            <a:r>
              <a:rPr lang="en-US" altLang="zh-CN"/>
              <a:t>Third level</a:t>
            </a:r>
            <a:endParaRPr lang="en-US" altLang="zh-CN"/>
          </a:p>
          <a:p>
            <a:pPr lvl="3" latinLnBrk="0"/>
            <a:r>
              <a:rPr lang="en-US" altLang="zh-CN"/>
              <a:t>Fourth level</a:t>
            </a:r>
            <a:endParaRPr lang="en-US" altLang="zh-CN"/>
          </a:p>
          <a:p>
            <a:pPr lvl="4" latinLnBrk="0"/>
            <a:r>
              <a:rPr lang="en-US" altLang="zh-CN"/>
              <a:t>Fifth level</a:t>
            </a:r>
            <a:endParaRPr lang="en-US"/>
          </a:p>
        </p:txBody>
      </p:sp>
      <p:grpSp>
        <p:nvGrpSpPr>
          <p:cNvPr id="15" name="ACET" hidden="1"/>
          <p:cNvGrpSpPr/>
          <p:nvPr/>
        </p:nvGrpSpPr>
        <p:grpSpPr bwMode="gray">
          <a:xfrm>
            <a:off x="455717" y="2032797"/>
            <a:ext cx="5254845" cy="476206"/>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a:solidFill>
                    <a:srgbClr val="000000"/>
                  </a:solidFill>
                  <a:latin typeface="+mn-lt"/>
                  <a:ea typeface="微软雅黑" panose="020B0503020204020204" charset="-122"/>
                  <a:cs typeface="微软雅黑" panose="020B0503020204020204" charset="-122"/>
                </a:rPr>
                <a:t>Title</a:t>
              </a:r>
              <a:endParaRPr lang="x-none" sz="1500" b="1" baseline="0">
                <a:solidFill>
                  <a:srgbClr val="000000"/>
                </a:solidFill>
                <a:latin typeface="+mn-lt"/>
                <a:ea typeface="微软雅黑" panose="020B0503020204020204" charset="-122"/>
                <a:cs typeface="微软雅黑" panose="020B0503020204020204" charset="-122"/>
              </a:endParaRPr>
            </a:p>
            <a:p>
              <a:r>
                <a:rPr lang="x-none" sz="1500" baseline="0">
                  <a:solidFill>
                    <a:srgbClr val="808080"/>
                  </a:solidFill>
                  <a:latin typeface="+mn-lt"/>
                  <a:ea typeface="微软雅黑" panose="020B0503020204020204" charset="-122"/>
                  <a:cs typeface="微软雅黑" panose="020B0503020204020204" charset="-122"/>
                </a:rPr>
                <a:t>Unit of measure</a:t>
              </a:r>
              <a:endParaRPr lang="x-none" sz="1500" baseline="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a:solidFill>
                  <a:schemeClr val="tx1"/>
                </a:solidFill>
                <a:ea typeface="微软雅黑" panose="020B0503020204020204" charset="-122"/>
                <a:cs typeface="微软雅黑" panose="020B0503020204020204" charset="-122"/>
              </a:rPr>
              <a:t>1	Footnote</a:t>
            </a:r>
            <a:endParaRPr lang="en-US" sz="1000" i="1" baseline="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000" i="1" baseline="0">
                <a:solidFill>
                  <a:schemeClr val="tx1"/>
                </a:solidFill>
                <a:latin typeface="+mn-lt"/>
                <a:ea typeface="微软雅黑" panose="020B0503020204020204" charset="-122"/>
                <a:cs typeface="微软雅黑" panose="020B0503020204020204" charset="-122"/>
              </a:rPr>
              <a:t>SOURCE: Source</a:t>
            </a:r>
            <a:endParaRPr lang="en-US" sz="1000" i="1" baseline="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chemeClr val="accent6"/>
                </a:solidFill>
                <a:latin typeface="+mn-lt"/>
                <a:ea typeface="微软雅黑" panose="020B0503020204020204" charset="-122"/>
                <a:cs typeface="微软雅黑" panose="020B0503020204020204" charset="-122"/>
              </a:rPr>
              <a:t>TRACKER</a:t>
            </a:r>
            <a:endParaRPr lang="en-US" sz="800" cap="all">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7"/>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a:ea typeface="微软雅黑" panose="020B0503020204020204" charset="-122"/>
                <a:cs typeface="微软雅黑" panose="020B0503020204020204" charset="-122"/>
              </a:rPr>
              <a:t>Subtitle</a:t>
            </a:r>
            <a:endParaRPr lang="en-US" sz="1500" baseline="0">
              <a:ea typeface="微软雅黑" panose="020B0503020204020204" charset="-122"/>
              <a:cs typeface="微软雅黑" panose="020B0503020204020204" charset="-122"/>
            </a:endParaRPr>
          </a:p>
        </p:txBody>
      </p:sp>
      <p:grpSp>
        <p:nvGrpSpPr>
          <p:cNvPr id="87" name="Sticker" hidden="1"/>
          <p:cNvGrpSpPr/>
          <p:nvPr/>
        </p:nvGrpSpPr>
        <p:grpSpPr bwMode="gray">
          <a:xfrm>
            <a:off x="11422760" y="759745"/>
            <a:ext cx="298569" cy="124460"/>
            <a:chOff x="8389785" y="285750"/>
            <a:chExt cx="351131" cy="146379"/>
          </a:xfrm>
        </p:grpSpPr>
        <p:sp>
          <p:nvSpPr>
            <p:cNvPr id="88" name="StickerRectangle"/>
            <p:cNvSpPr>
              <a:spLocks noChangeArrowheads="1"/>
            </p:cNvSpPr>
            <p:nvPr/>
          </p:nvSpPr>
          <p:spPr bwMode="gray">
            <a:xfrm>
              <a:off x="8389785" y="285750"/>
              <a:ext cx="350990" cy="14637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a:solidFill>
                    <a:schemeClr val="accent6"/>
                  </a:solidFill>
                  <a:latin typeface="+mn-lt"/>
                  <a:ea typeface="微软雅黑" panose="020B0503020204020204" charset="-122"/>
                  <a:cs typeface="微软雅黑" panose="020B0503020204020204" charset="-122"/>
                </a:rPr>
                <a:t>STICKER</a:t>
              </a:r>
              <a:endParaRPr lang="x-none" sz="665" baseline="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5"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5" y="432064"/>
              <a:ext cx="350991"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507" y="759746"/>
            <a:ext cx="586820" cy="844761"/>
            <a:chOff x="7835905" y="279400"/>
            <a:chExt cx="690125"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7" y="54927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5" y="759746"/>
            <a:ext cx="848693" cy="617999"/>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5" y="759746"/>
            <a:ext cx="643513" cy="1110878"/>
            <a:chOff x="7769225" y="250825"/>
            <a:chExt cx="756798" cy="1306516"/>
          </a:xfrm>
        </p:grpSpPr>
        <p:grpSp>
          <p:nvGrpSpPr>
            <p:cNvPr id="109" name="MoonLegend1"/>
            <p:cNvGrpSpPr>
              <a:grpSpLocks noChangeAspect="1"/>
            </p:cNvGrpSpPr>
            <p:nvPr>
              <p:custDataLst>
                <p:tags r:id="rId1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3"/>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4"/>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7"/>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3"/>
            </p:custDataLst>
          </p:nvPr>
        </p:nvGrpSpPr>
        <p:grpSpPr>
          <a:xfrm>
            <a:off x="9434188" y="833372"/>
            <a:ext cx="211667" cy="211667"/>
            <a:chOff x="762000" y="1270000"/>
            <a:chExt cx="254000" cy="254000"/>
          </a:xfrm>
          <a:solidFill>
            <a:schemeClr val="accent2"/>
          </a:solidFill>
        </p:grpSpPr>
        <p:sp>
          <p:nvSpPr>
            <p:cNvPr id="130" name="Oval 129"/>
            <p:cNvSpPr/>
            <p:nvPr>
              <p:custDataLst>
                <p:tags r:id="rId3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1" name="Arc 130"/>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6"/>
            </p:custDataLst>
          </p:nvPr>
        </p:nvGrpSpPr>
        <p:grpSpPr>
          <a:xfrm>
            <a:off x="9701138" y="833372"/>
            <a:ext cx="211667" cy="211667"/>
            <a:chOff x="762000" y="1270000"/>
            <a:chExt cx="254000" cy="254000"/>
          </a:xfrm>
        </p:grpSpPr>
        <p:sp>
          <p:nvSpPr>
            <p:cNvPr id="133" name="Oval 132"/>
            <p:cNvSpPr/>
            <p:nvPr>
              <p:custDataLst>
                <p:tags r:id="rId3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4" name="Arc 133"/>
            <p:cNvSpPr/>
            <p:nvPr>
              <p:custDataLst>
                <p:tags r:id="rId38"/>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9"/>
            </p:custDataLst>
          </p:nvPr>
        </p:nvGrpSpPr>
        <p:grpSpPr>
          <a:xfrm>
            <a:off x="9968090" y="833372"/>
            <a:ext cx="211667" cy="211667"/>
            <a:chOff x="762000" y="1270000"/>
            <a:chExt cx="254000" cy="254000"/>
          </a:xfrm>
        </p:grpSpPr>
        <p:sp>
          <p:nvSpPr>
            <p:cNvPr id="136" name="Oval 135"/>
            <p:cNvSpPr/>
            <p:nvPr>
              <p:custDataLst>
                <p:tags r:id="rId4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7" name="Arc 136"/>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2"/>
            </p:custDataLst>
          </p:nvPr>
        </p:nvGrpSpPr>
        <p:grpSpPr>
          <a:xfrm>
            <a:off x="10235041" y="833372"/>
            <a:ext cx="211667" cy="211667"/>
            <a:chOff x="762000" y="1270000"/>
            <a:chExt cx="254000" cy="254000"/>
          </a:xfrm>
        </p:grpSpPr>
        <p:sp>
          <p:nvSpPr>
            <p:cNvPr id="139" name="Oval 138"/>
            <p:cNvSpPr/>
            <p:nvPr>
              <p:custDataLst>
                <p:tags r:id="rId4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0" name="Arc 139"/>
            <p:cNvSpPr/>
            <p:nvPr>
              <p:custDataLst>
                <p:tags r:id="rId44"/>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5"/>
            </p:custDataLst>
          </p:nvPr>
        </p:nvGrpSpPr>
        <p:grpSpPr>
          <a:xfrm>
            <a:off x="10501993" y="833372"/>
            <a:ext cx="211667" cy="211667"/>
            <a:chOff x="762000" y="1270000"/>
            <a:chExt cx="254000" cy="254000"/>
          </a:xfrm>
          <a:solidFill>
            <a:schemeClr val="accent2"/>
          </a:solidFill>
        </p:grpSpPr>
        <p:sp>
          <p:nvSpPr>
            <p:cNvPr id="142" name="Oval 141"/>
            <p:cNvSpPr/>
            <p:nvPr>
              <p:custDataLst>
                <p:tags r:id="rId4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3" name="Arc 142"/>
            <p:cNvSpPr/>
            <p:nvPr>
              <p:custDataLst>
                <p:tags r:id="rId4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4"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Lst>
  <p:hf hdr="0" ftr="0" dt="0"/>
  <p:txStyles>
    <p:titleStyle>
      <a:lvl1pPr algn="l" defTabSz="895350" rtl="0" eaLnBrk="1" fontAlgn="base" hangingPunct="1">
        <a:spcBef>
          <a:spcPct val="0"/>
        </a:spcBef>
        <a:spcAft>
          <a:spcPct val="0"/>
        </a:spcAft>
        <a:tabLst>
          <a:tab pos="269240"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9" imgW="12700" imgH="12700" progId="TCLayout.ActiveDocument.1">
                  <p:embed/>
                </p:oleObj>
              </mc:Choice>
              <mc:Fallback>
                <p:oleObj name="think-cell 幻灯片" r:id="rId9" imgW="12700" imgH="12700" progId="TCLayout.ActiveDocument.1">
                  <p:embed/>
                  <p:pic>
                    <p:nvPicPr>
                      <p:cNvPr id="0" name="Object 1" hidden="1"/>
                      <p:cNvPicPr/>
                      <p:nvPr/>
                    </p:nvPicPr>
                    <p:blipFill>
                      <a:blip r:embed="rId10"/>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1"/>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3"/>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4"/>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5"/>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1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5"/>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8"/>
            </p:custDataLst>
          </p:nvPr>
        </p:nvGrpSpPr>
        <p:grpSpPr>
          <a:xfrm>
            <a:off x="9434188" y="833371"/>
            <a:ext cx="211667" cy="211667"/>
            <a:chOff x="762000" y="1270000"/>
            <a:chExt cx="254000" cy="254000"/>
          </a:xfrm>
          <a:solidFill>
            <a:schemeClr val="accent2"/>
          </a:solidFill>
        </p:grpSpPr>
        <p:sp>
          <p:nvSpPr>
            <p:cNvPr id="130" name="Oval 129"/>
            <p:cNvSpPr/>
            <p:nvPr>
              <p:custDataLst>
                <p:tags r:id="rId2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1"/>
            </p:custDataLst>
          </p:nvPr>
        </p:nvGrpSpPr>
        <p:grpSpPr>
          <a:xfrm>
            <a:off x="9701138" y="833371"/>
            <a:ext cx="211667" cy="211667"/>
            <a:chOff x="762000" y="1270000"/>
            <a:chExt cx="254000" cy="254000"/>
          </a:xfrm>
        </p:grpSpPr>
        <p:sp>
          <p:nvSpPr>
            <p:cNvPr id="133" name="Oval 132"/>
            <p:cNvSpPr/>
            <p:nvPr>
              <p:custDataLst>
                <p:tags r:id="rId3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4"/>
            </p:custDataLst>
          </p:nvPr>
        </p:nvGrpSpPr>
        <p:grpSpPr>
          <a:xfrm>
            <a:off x="9968089" y="833371"/>
            <a:ext cx="211667" cy="211667"/>
            <a:chOff x="762000" y="1270000"/>
            <a:chExt cx="254000" cy="254000"/>
          </a:xfrm>
        </p:grpSpPr>
        <p:sp>
          <p:nvSpPr>
            <p:cNvPr id="136" name="Oval 135"/>
            <p:cNvSpPr/>
            <p:nvPr>
              <p:custDataLst>
                <p:tags r:id="rId3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7"/>
            </p:custDataLst>
          </p:nvPr>
        </p:nvGrpSpPr>
        <p:grpSpPr>
          <a:xfrm>
            <a:off x="10235040" y="833371"/>
            <a:ext cx="211667" cy="211667"/>
            <a:chOff x="762000" y="1270000"/>
            <a:chExt cx="254000" cy="254000"/>
          </a:xfrm>
        </p:grpSpPr>
        <p:sp>
          <p:nvSpPr>
            <p:cNvPr id="139" name="Oval 138"/>
            <p:cNvSpPr/>
            <p:nvPr>
              <p:custDataLst>
                <p:tags r:id="rId3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0"/>
            </p:custDataLst>
          </p:nvPr>
        </p:nvGrpSpPr>
        <p:grpSpPr>
          <a:xfrm>
            <a:off x="10501992" y="833371"/>
            <a:ext cx="211667" cy="211667"/>
            <a:chOff x="762000" y="1270000"/>
            <a:chExt cx="254000" cy="254000"/>
          </a:xfrm>
          <a:solidFill>
            <a:schemeClr val="accent2"/>
          </a:solidFill>
        </p:grpSpPr>
        <p:sp>
          <p:nvSpPr>
            <p:cNvPr id="142" name="Oval 141"/>
            <p:cNvSpPr/>
            <p:nvPr>
              <p:custDataLst>
                <p:tags r:id="rId41"/>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2"/>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1"/>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9" imgW="12700" imgH="12700" progId="TCLayout.ActiveDocument.1">
                  <p:embed/>
                </p:oleObj>
              </mc:Choice>
              <mc:Fallback>
                <p:oleObj name="think-cell 幻灯片" r:id="rId9" imgW="12700" imgH="12700" progId="TCLayout.ActiveDocument.1">
                  <p:embed/>
                  <p:pic>
                    <p:nvPicPr>
                      <p:cNvPr id="0" name="Object 1" hidden="1"/>
                      <p:cNvPicPr/>
                      <p:nvPr/>
                    </p:nvPicPr>
                    <p:blipFill>
                      <a:blip r:embed="rId10"/>
                      <a:stretch>
                        <a:fillRect/>
                      </a:stretch>
                    </p:blipFill>
                    <p:spPr>
                      <a:xfrm>
                        <a:off x="0" y="1"/>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1"/>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7" y="2032797"/>
            <a:ext cx="5254845" cy="476206"/>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7"/>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0" y="759745"/>
            <a:ext cx="298569" cy="124460"/>
            <a:chOff x="8389785" y="285750"/>
            <a:chExt cx="351131" cy="146379"/>
          </a:xfrm>
        </p:grpSpPr>
        <p:sp>
          <p:nvSpPr>
            <p:cNvPr id="88" name="StickerRectangle"/>
            <p:cNvSpPr>
              <a:spLocks noChangeArrowheads="1"/>
            </p:cNvSpPr>
            <p:nvPr/>
          </p:nvSpPr>
          <p:spPr bwMode="gray">
            <a:xfrm>
              <a:off x="8389785" y="285750"/>
              <a:ext cx="350990" cy="14637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5"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5" y="432064"/>
              <a:ext cx="350991"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507" y="759746"/>
            <a:ext cx="586820" cy="844761"/>
            <a:chOff x="7835905" y="279400"/>
            <a:chExt cx="690125"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7" y="54927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5" y="759746"/>
            <a:ext cx="848693" cy="617999"/>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5" y="759746"/>
            <a:ext cx="643513" cy="1110878"/>
            <a:chOff x="7769225" y="250825"/>
            <a:chExt cx="756798" cy="1306516"/>
          </a:xfrm>
        </p:grpSpPr>
        <p:grpSp>
          <p:nvGrpSpPr>
            <p:cNvPr id="109" name="MoonLegend1"/>
            <p:cNvGrpSpPr>
              <a:grpSpLocks noChangeAspect="1"/>
            </p:cNvGrpSpPr>
            <p:nvPr>
              <p:custDataLst>
                <p:tags r:id="rId13"/>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4"/>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5"/>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1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5"/>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8"/>
            </p:custDataLst>
          </p:nvPr>
        </p:nvGrpSpPr>
        <p:grpSpPr>
          <a:xfrm>
            <a:off x="9434188" y="833372"/>
            <a:ext cx="211667" cy="211667"/>
            <a:chOff x="762000" y="1270000"/>
            <a:chExt cx="254000" cy="254000"/>
          </a:xfrm>
          <a:solidFill>
            <a:schemeClr val="accent2"/>
          </a:solidFill>
        </p:grpSpPr>
        <p:sp>
          <p:nvSpPr>
            <p:cNvPr id="130" name="Oval 129"/>
            <p:cNvSpPr/>
            <p:nvPr>
              <p:custDataLst>
                <p:tags r:id="rId2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1"/>
            </p:custDataLst>
          </p:nvPr>
        </p:nvGrpSpPr>
        <p:grpSpPr>
          <a:xfrm>
            <a:off x="9701138" y="833372"/>
            <a:ext cx="211667" cy="211667"/>
            <a:chOff x="762000" y="1270000"/>
            <a:chExt cx="254000" cy="254000"/>
          </a:xfrm>
        </p:grpSpPr>
        <p:sp>
          <p:nvSpPr>
            <p:cNvPr id="133" name="Oval 132"/>
            <p:cNvSpPr/>
            <p:nvPr>
              <p:custDataLst>
                <p:tags r:id="rId3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4"/>
            </p:custDataLst>
          </p:nvPr>
        </p:nvGrpSpPr>
        <p:grpSpPr>
          <a:xfrm>
            <a:off x="9968090" y="833372"/>
            <a:ext cx="211667" cy="211667"/>
            <a:chOff x="762000" y="1270000"/>
            <a:chExt cx="254000" cy="254000"/>
          </a:xfrm>
        </p:grpSpPr>
        <p:sp>
          <p:nvSpPr>
            <p:cNvPr id="136" name="Oval 135"/>
            <p:cNvSpPr/>
            <p:nvPr>
              <p:custDataLst>
                <p:tags r:id="rId3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7"/>
            </p:custDataLst>
          </p:nvPr>
        </p:nvGrpSpPr>
        <p:grpSpPr>
          <a:xfrm>
            <a:off x="10235041" y="833372"/>
            <a:ext cx="211667" cy="211667"/>
            <a:chOff x="762000" y="1270000"/>
            <a:chExt cx="254000" cy="254000"/>
          </a:xfrm>
        </p:grpSpPr>
        <p:sp>
          <p:nvSpPr>
            <p:cNvPr id="139" name="Oval 138"/>
            <p:cNvSpPr/>
            <p:nvPr>
              <p:custDataLst>
                <p:tags r:id="rId3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0"/>
            </p:custDataLst>
          </p:nvPr>
        </p:nvGrpSpPr>
        <p:grpSpPr>
          <a:xfrm>
            <a:off x="10501993" y="833372"/>
            <a:ext cx="211667" cy="211667"/>
            <a:chOff x="762000" y="1270000"/>
            <a:chExt cx="254000" cy="254000"/>
          </a:xfrm>
          <a:solidFill>
            <a:schemeClr val="accent2"/>
          </a:solidFill>
        </p:grpSpPr>
        <p:sp>
          <p:nvSpPr>
            <p:cNvPr id="142" name="Oval 141"/>
            <p:cNvSpPr/>
            <p:nvPr>
              <p:custDataLst>
                <p:tags r:id="rId41"/>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2"/>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4"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Lst>
  <p:hf sldNum="0" hdr="0" ftr="0" dt="0"/>
  <p:txStyles>
    <p:titleStyle>
      <a:lvl1pPr algn="l" defTabSz="895350" rtl="0" eaLnBrk="1" fontAlgn="base" hangingPunct="1">
        <a:spcBef>
          <a:spcPct val="0"/>
        </a:spcBef>
        <a:spcAft>
          <a:spcPct val="0"/>
        </a:spcAft>
        <a:tabLst>
          <a:tab pos="269240"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Slide" r:id="rId13" imgW="12700" imgH="12700" progId="TCLayout.ActiveDocument.1">
                  <p:embed/>
                </p:oleObj>
              </mc:Choice>
              <mc:Fallback>
                <p:oleObj name="think-cell Slide" r:id="rId13" imgW="12700" imgH="12700" progId="TCLayout.ActiveDocument.1">
                  <p:embed/>
                  <p:pic>
                    <p:nvPicPr>
                      <p:cNvPr id="0" name="Object 1" hidden="1"/>
                      <p:cNvPicPr/>
                      <p:nvPr/>
                    </p:nvPicPr>
                    <p:blipFill>
                      <a:blip r:embed="rId14"/>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5"/>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3"/>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6"/>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2"/>
            </p:custDataLst>
          </p:nvPr>
        </p:nvGrpSpPr>
        <p:grpSpPr>
          <a:xfrm>
            <a:off x="9434188" y="833371"/>
            <a:ext cx="211667" cy="211667"/>
            <a:chOff x="762000" y="1270000"/>
            <a:chExt cx="254000" cy="254000"/>
          </a:xfrm>
          <a:solidFill>
            <a:schemeClr val="accent2"/>
          </a:solidFill>
        </p:grpSpPr>
        <p:sp>
          <p:nvSpPr>
            <p:cNvPr id="130" name="Oval 129"/>
            <p:cNvSpPr/>
            <p:nvPr>
              <p:custDataLst>
                <p:tags r:id="rId3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5"/>
            </p:custDataLst>
          </p:nvPr>
        </p:nvGrpSpPr>
        <p:grpSpPr>
          <a:xfrm>
            <a:off x="9701138" y="833371"/>
            <a:ext cx="211667" cy="211667"/>
            <a:chOff x="762000" y="1270000"/>
            <a:chExt cx="254000" cy="254000"/>
          </a:xfrm>
        </p:grpSpPr>
        <p:sp>
          <p:nvSpPr>
            <p:cNvPr id="133" name="Oval 132"/>
            <p:cNvSpPr/>
            <p:nvPr>
              <p:custDataLst>
                <p:tags r:id="rId3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8"/>
            </p:custDataLst>
          </p:nvPr>
        </p:nvGrpSpPr>
        <p:grpSpPr>
          <a:xfrm>
            <a:off x="9968089" y="833371"/>
            <a:ext cx="211667" cy="211667"/>
            <a:chOff x="762000" y="1270000"/>
            <a:chExt cx="254000" cy="254000"/>
          </a:xfrm>
        </p:grpSpPr>
        <p:sp>
          <p:nvSpPr>
            <p:cNvPr id="136" name="Oval 135"/>
            <p:cNvSpPr/>
            <p:nvPr>
              <p:custDataLst>
                <p:tags r:id="rId3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1"/>
            </p:custDataLst>
          </p:nvPr>
        </p:nvGrpSpPr>
        <p:grpSpPr>
          <a:xfrm>
            <a:off x="10235040" y="833371"/>
            <a:ext cx="211667" cy="211667"/>
            <a:chOff x="762000" y="1270000"/>
            <a:chExt cx="254000" cy="254000"/>
          </a:xfrm>
        </p:grpSpPr>
        <p:sp>
          <p:nvSpPr>
            <p:cNvPr id="139" name="Oval 138"/>
            <p:cNvSpPr/>
            <p:nvPr>
              <p:custDataLst>
                <p:tags r:id="rId4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4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4"/>
            </p:custDataLst>
          </p:nvPr>
        </p:nvGrpSpPr>
        <p:grpSpPr>
          <a:xfrm>
            <a:off x="10501992" y="833371"/>
            <a:ext cx="211667" cy="211667"/>
            <a:chOff x="762000" y="1270000"/>
            <a:chExt cx="254000" cy="254000"/>
          </a:xfrm>
          <a:solidFill>
            <a:schemeClr val="accent2"/>
          </a:solidFill>
        </p:grpSpPr>
        <p:sp>
          <p:nvSpPr>
            <p:cNvPr id="142" name="Oval 141"/>
            <p:cNvSpPr/>
            <p:nvPr>
              <p:custDataLst>
                <p:tags r:id="rId4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150" name="TextBox 149"/>
          <p:cNvSpPr txBox="1"/>
          <p:nvPr/>
        </p:nvSpPr>
        <p:spPr>
          <a:xfrm>
            <a:off x="470788" y="6494848"/>
            <a:ext cx="1171575" cy="179070"/>
          </a:xfrm>
          <a:prstGeom prst="rect">
            <a:avLst/>
          </a:prstGeom>
          <a:noFill/>
        </p:spPr>
        <p:txBody>
          <a:bodyPr wrap="none" lIns="0" tIns="0" rIns="0" bIns="0" rtlCol="0">
            <a:spAutoFit/>
          </a:bodyPr>
          <a:lstStyle/>
          <a:p>
            <a:pPr algn="l"/>
            <a:r>
              <a:rPr lang="en-US" sz="1165" b="1" i="1" dirty="0">
                <a:solidFill>
                  <a:schemeClr val="bg1"/>
                </a:solidFill>
                <a:ea typeface="微软雅黑" panose="020B0503020204020204" charset="-122"/>
                <a:cs typeface="Calibri Light" panose="020F0302020204030204" pitchFamily="34" charset="0"/>
              </a:rPr>
              <a:t>Strictly Confidential</a:t>
            </a:r>
            <a:endParaRPr lang="en-US" sz="1165" b="1" i="1" dirty="0">
              <a:solidFill>
                <a:schemeClr val="bg1"/>
              </a:solidFill>
              <a:ea typeface="微软雅黑" panose="020B0503020204020204" charset="-122"/>
              <a:cs typeface="Calibri Light" panose="020F0302020204030204" pitchFamily="34" charset="0"/>
            </a:endParaRPr>
          </a:p>
        </p:txBody>
      </p: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AP\NDR\Project Skyline_NDR_V20200727</a:t>
            </a:r>
            <a:r>
              <a:rPr lang="en-US" sz="665" b="0">
                <a:ea typeface="微软雅黑" panose="020B0503020204020204" charset="-122"/>
                <a:cs typeface="微软雅黑" panose="020B0503020204020204" charset="-122"/>
              </a:rPr>
              <a:t>_V5.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hf sldNum="0"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9" imgW="12700" imgH="12700" progId="TCLayout.ActiveDocument.1">
                  <p:embed/>
                </p:oleObj>
              </mc:Choice>
              <mc:Fallback>
                <p:oleObj name="think-cell 幻灯片" r:id="rId9" imgW="12700" imgH="12700" progId="TCLayout.ActiveDocument.1">
                  <p:embed/>
                  <p:pic>
                    <p:nvPicPr>
                      <p:cNvPr id="0" name="Object 1" hidden="1"/>
                      <p:cNvPicPr/>
                      <p:nvPr/>
                    </p:nvPicPr>
                    <p:blipFill>
                      <a:blip r:embed="rId10"/>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1"/>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a:t>Click to edit Master text styles</a:t>
            </a:r>
            <a:endParaRPr lang="en-US" altLang="zh-CN"/>
          </a:p>
          <a:p>
            <a:pPr lvl="1" latinLnBrk="0"/>
            <a:r>
              <a:rPr lang="en-US" altLang="zh-CN"/>
              <a:t>Second level</a:t>
            </a:r>
            <a:endParaRPr lang="en-US" altLang="zh-CN"/>
          </a:p>
          <a:p>
            <a:pPr lvl="2" latinLnBrk="0"/>
            <a:r>
              <a:rPr lang="en-US" altLang="zh-CN"/>
              <a:t>Third level</a:t>
            </a:r>
            <a:endParaRPr lang="en-US" altLang="zh-CN"/>
          </a:p>
          <a:p>
            <a:pPr lvl="3" latinLnBrk="0"/>
            <a:r>
              <a:rPr lang="en-US" altLang="zh-CN"/>
              <a:t>Fourth level</a:t>
            </a:r>
            <a:endParaRPr lang="en-US" altLang="zh-CN"/>
          </a:p>
          <a:p>
            <a:pPr lvl="4" latinLnBrk="0"/>
            <a:r>
              <a:rPr lang="en-US" altLang="zh-CN"/>
              <a:t>Fifth level</a:t>
            </a:r>
            <a:endParaRPr lang="en-US"/>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a:solidFill>
                    <a:srgbClr val="000000"/>
                  </a:solidFill>
                  <a:latin typeface="+mn-lt"/>
                  <a:ea typeface="微软雅黑" panose="020B0503020204020204" charset="-122"/>
                  <a:cs typeface="微软雅黑" panose="020B0503020204020204" charset="-122"/>
                </a:rPr>
                <a:t>Title</a:t>
              </a:r>
              <a:endParaRPr lang="x-none" sz="1500" b="1" baseline="0">
                <a:solidFill>
                  <a:srgbClr val="000000"/>
                </a:solidFill>
                <a:latin typeface="+mn-lt"/>
                <a:ea typeface="微软雅黑" panose="020B0503020204020204" charset="-122"/>
                <a:cs typeface="微软雅黑" panose="020B0503020204020204" charset="-122"/>
              </a:endParaRPr>
            </a:p>
            <a:p>
              <a:r>
                <a:rPr lang="x-none" sz="1500" baseline="0">
                  <a:solidFill>
                    <a:srgbClr val="808080"/>
                  </a:solidFill>
                  <a:latin typeface="+mn-lt"/>
                  <a:ea typeface="微软雅黑" panose="020B0503020204020204" charset="-122"/>
                  <a:cs typeface="微软雅黑" panose="020B0503020204020204" charset="-122"/>
                </a:rPr>
                <a:t>Unit of measure</a:t>
              </a:r>
              <a:endParaRPr lang="x-none" sz="1500" baseline="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a:solidFill>
                  <a:schemeClr val="tx1"/>
                </a:solidFill>
                <a:ea typeface="微软雅黑" panose="020B0503020204020204" charset="-122"/>
                <a:cs typeface="微软雅黑" panose="020B0503020204020204" charset="-122"/>
              </a:rPr>
              <a:t>1	Footnote</a:t>
            </a:r>
            <a:endParaRPr lang="en-US" sz="1000" i="1" baseline="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a:solidFill>
                  <a:schemeClr val="tx1"/>
                </a:solidFill>
                <a:latin typeface="+mn-lt"/>
                <a:ea typeface="微软雅黑" panose="020B0503020204020204" charset="-122"/>
                <a:cs typeface="微软雅黑" panose="020B0503020204020204" charset="-122"/>
              </a:rPr>
              <a:t>SOURCE: Source</a:t>
            </a:r>
            <a:endParaRPr lang="en-US" sz="1000" i="1" baseline="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chemeClr val="accent6"/>
                </a:solidFill>
                <a:latin typeface="+mn-lt"/>
                <a:ea typeface="微软雅黑" panose="020B0503020204020204" charset="-122"/>
                <a:cs typeface="微软雅黑" panose="020B0503020204020204" charset="-122"/>
              </a:rPr>
              <a:t>TRACKER</a:t>
            </a:r>
            <a:endParaRPr lang="en-US" sz="800" cap="all">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a:ea typeface="微软雅黑" panose="020B0503020204020204" charset="-122"/>
                <a:cs typeface="微软雅黑" panose="020B0503020204020204" charset="-122"/>
              </a:rPr>
              <a:t>Subtitle</a:t>
            </a:r>
            <a:endParaRPr lang="en-US" sz="1500" baseline="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a:solidFill>
                    <a:schemeClr val="accent6"/>
                  </a:solidFill>
                  <a:latin typeface="+mn-lt"/>
                  <a:ea typeface="微软雅黑" panose="020B0503020204020204" charset="-122"/>
                  <a:cs typeface="微软雅黑" panose="020B0503020204020204" charset="-122"/>
                </a:rPr>
                <a:t>STICKER</a:t>
              </a:r>
              <a:endParaRPr lang="x-none" sz="665" baseline="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3"/>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4"/>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5"/>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1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5"/>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8"/>
            </p:custDataLst>
          </p:nvPr>
        </p:nvGrpSpPr>
        <p:grpSpPr>
          <a:xfrm>
            <a:off x="9434188" y="833371"/>
            <a:ext cx="211667" cy="211667"/>
            <a:chOff x="762000" y="1270000"/>
            <a:chExt cx="254000" cy="254000"/>
          </a:xfrm>
          <a:solidFill>
            <a:schemeClr val="accent2"/>
          </a:solidFill>
        </p:grpSpPr>
        <p:sp>
          <p:nvSpPr>
            <p:cNvPr id="130" name="Oval 129"/>
            <p:cNvSpPr/>
            <p:nvPr>
              <p:custDataLst>
                <p:tags r:id="rId2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1" name="Arc 130"/>
            <p:cNvSpPr/>
            <p:nvPr>
              <p:custDataLst>
                <p:tags r:id="rId3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1"/>
            </p:custDataLst>
          </p:nvPr>
        </p:nvGrpSpPr>
        <p:grpSpPr>
          <a:xfrm>
            <a:off x="9701138" y="833371"/>
            <a:ext cx="211667" cy="211667"/>
            <a:chOff x="762000" y="1270000"/>
            <a:chExt cx="254000" cy="254000"/>
          </a:xfrm>
        </p:grpSpPr>
        <p:sp>
          <p:nvSpPr>
            <p:cNvPr id="133" name="Oval 132"/>
            <p:cNvSpPr/>
            <p:nvPr>
              <p:custDataLst>
                <p:tags r:id="rId3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4" name="Arc 133"/>
            <p:cNvSpPr/>
            <p:nvPr>
              <p:custDataLst>
                <p:tags r:id="rId3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4"/>
            </p:custDataLst>
          </p:nvPr>
        </p:nvGrpSpPr>
        <p:grpSpPr>
          <a:xfrm>
            <a:off x="9968089" y="833371"/>
            <a:ext cx="211667" cy="211667"/>
            <a:chOff x="762000" y="1270000"/>
            <a:chExt cx="254000" cy="254000"/>
          </a:xfrm>
        </p:grpSpPr>
        <p:sp>
          <p:nvSpPr>
            <p:cNvPr id="136" name="Oval 135"/>
            <p:cNvSpPr/>
            <p:nvPr>
              <p:custDataLst>
                <p:tags r:id="rId3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7" name="Arc 136"/>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7"/>
            </p:custDataLst>
          </p:nvPr>
        </p:nvGrpSpPr>
        <p:grpSpPr>
          <a:xfrm>
            <a:off x="10235040" y="833371"/>
            <a:ext cx="211667" cy="211667"/>
            <a:chOff x="762000" y="1270000"/>
            <a:chExt cx="254000" cy="254000"/>
          </a:xfrm>
        </p:grpSpPr>
        <p:sp>
          <p:nvSpPr>
            <p:cNvPr id="139" name="Oval 138"/>
            <p:cNvSpPr/>
            <p:nvPr>
              <p:custDataLst>
                <p:tags r:id="rId3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0" name="Arc 139"/>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0"/>
            </p:custDataLst>
          </p:nvPr>
        </p:nvGrpSpPr>
        <p:grpSpPr>
          <a:xfrm>
            <a:off x="10501992" y="833371"/>
            <a:ext cx="211667" cy="211667"/>
            <a:chOff x="762000" y="1270000"/>
            <a:chExt cx="254000" cy="254000"/>
          </a:xfrm>
          <a:solidFill>
            <a:schemeClr val="accent2"/>
          </a:solidFill>
        </p:grpSpPr>
        <p:sp>
          <p:nvSpPr>
            <p:cNvPr id="142" name="Oval 141"/>
            <p:cNvSpPr/>
            <p:nvPr>
              <p:custDataLst>
                <p:tags r:id="rId41"/>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3" name="Arc 142"/>
            <p:cNvSpPr/>
            <p:nvPr>
              <p:custDataLst>
                <p:tags r:id="rId42"/>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0" imgW="12700" imgH="12700" progId="TCLayout.ActiveDocument.1">
                  <p:embed/>
                </p:oleObj>
              </mc:Choice>
              <mc:Fallback>
                <p:oleObj name="think-cell 幻灯片" r:id="rId10" imgW="12700" imgH="12700" progId="TCLayout.ActiveDocument.1">
                  <p:embed/>
                  <p:pic>
                    <p:nvPicPr>
                      <p:cNvPr id="0" name="Object 1" hidden="1"/>
                      <p:cNvPicPr/>
                      <p:nvPr/>
                    </p:nvPicPr>
                    <p:blipFill>
                      <a:blip r:embed="rId11"/>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2"/>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a:t>Click to edit Master text styles</a:t>
            </a:r>
            <a:endParaRPr lang="en-US" altLang="zh-CN"/>
          </a:p>
          <a:p>
            <a:pPr lvl="1" latinLnBrk="0"/>
            <a:r>
              <a:rPr lang="en-US" altLang="zh-CN"/>
              <a:t>Second level</a:t>
            </a:r>
            <a:endParaRPr lang="en-US" altLang="zh-CN"/>
          </a:p>
          <a:p>
            <a:pPr lvl="2" latinLnBrk="0"/>
            <a:r>
              <a:rPr lang="en-US" altLang="zh-CN"/>
              <a:t>Third level</a:t>
            </a:r>
            <a:endParaRPr lang="en-US" altLang="zh-CN"/>
          </a:p>
          <a:p>
            <a:pPr lvl="3" latinLnBrk="0"/>
            <a:r>
              <a:rPr lang="en-US" altLang="zh-CN"/>
              <a:t>Fourth level</a:t>
            </a:r>
            <a:endParaRPr lang="en-US" altLang="zh-CN"/>
          </a:p>
          <a:p>
            <a:pPr lvl="4" latinLnBrk="0"/>
            <a:r>
              <a:rPr lang="en-US" altLang="zh-CN"/>
              <a:t>Fifth level</a:t>
            </a:r>
            <a:endParaRPr lang="en-US"/>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a:solidFill>
                    <a:srgbClr val="000000"/>
                  </a:solidFill>
                  <a:latin typeface="+mn-lt"/>
                  <a:ea typeface="微软雅黑" panose="020B0503020204020204" charset="-122"/>
                  <a:cs typeface="微软雅黑" panose="020B0503020204020204" charset="-122"/>
                </a:rPr>
                <a:t>Title</a:t>
              </a:r>
              <a:endParaRPr lang="x-none" sz="1500" b="1" baseline="0">
                <a:solidFill>
                  <a:srgbClr val="000000"/>
                </a:solidFill>
                <a:latin typeface="+mn-lt"/>
                <a:ea typeface="微软雅黑" panose="020B0503020204020204" charset="-122"/>
                <a:cs typeface="微软雅黑" panose="020B0503020204020204" charset="-122"/>
              </a:endParaRPr>
            </a:p>
            <a:p>
              <a:r>
                <a:rPr lang="x-none" sz="1500" baseline="0">
                  <a:solidFill>
                    <a:srgbClr val="808080"/>
                  </a:solidFill>
                  <a:latin typeface="+mn-lt"/>
                  <a:ea typeface="微软雅黑" panose="020B0503020204020204" charset="-122"/>
                  <a:cs typeface="微软雅黑" panose="020B0503020204020204" charset="-122"/>
                </a:rPr>
                <a:t>Unit of measure</a:t>
              </a:r>
              <a:endParaRPr lang="x-none" sz="1500" baseline="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a:solidFill>
                  <a:schemeClr val="tx1"/>
                </a:solidFill>
                <a:ea typeface="微软雅黑" panose="020B0503020204020204" charset="-122"/>
                <a:cs typeface="微软雅黑" panose="020B0503020204020204" charset="-122"/>
              </a:rPr>
              <a:t>1	Footnote</a:t>
            </a:r>
            <a:endParaRPr lang="en-US" sz="1000" i="1" baseline="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a:solidFill>
                  <a:schemeClr val="tx1"/>
                </a:solidFill>
                <a:latin typeface="+mn-lt"/>
                <a:ea typeface="微软雅黑" panose="020B0503020204020204" charset="-122"/>
                <a:cs typeface="微软雅黑" panose="020B0503020204020204" charset="-122"/>
              </a:rPr>
              <a:t>SOURCE: Source</a:t>
            </a:r>
            <a:endParaRPr lang="en-US" sz="1000" i="1" baseline="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chemeClr val="accent6"/>
                </a:solidFill>
                <a:latin typeface="+mn-lt"/>
                <a:ea typeface="微软雅黑" panose="020B0503020204020204" charset="-122"/>
                <a:cs typeface="微软雅黑" panose="020B0503020204020204" charset="-122"/>
              </a:rPr>
              <a:t>TRACKER</a:t>
            </a:r>
            <a:endParaRPr lang="en-US" sz="800" cap="all">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a:ea typeface="微软雅黑" panose="020B0503020204020204" charset="-122"/>
                <a:cs typeface="微软雅黑" panose="020B0503020204020204" charset="-122"/>
              </a:rPr>
              <a:t>Subtitle</a:t>
            </a:r>
            <a:endParaRPr lang="en-US" sz="1500" baseline="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a:solidFill>
                    <a:schemeClr val="accent6"/>
                  </a:solidFill>
                  <a:latin typeface="+mn-lt"/>
                  <a:ea typeface="微软雅黑" panose="020B0503020204020204" charset="-122"/>
                  <a:cs typeface="微软雅黑" panose="020B0503020204020204" charset="-122"/>
                </a:rPr>
                <a:t>STICKER</a:t>
              </a:r>
              <a:endParaRPr lang="x-none" sz="665" baseline="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4"/>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2"/>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6"/>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9"/>
            </p:custDataLst>
          </p:nvPr>
        </p:nvGrpSpPr>
        <p:grpSpPr>
          <a:xfrm>
            <a:off x="9434188" y="833371"/>
            <a:ext cx="211667" cy="211667"/>
            <a:chOff x="762000" y="1270000"/>
            <a:chExt cx="254000" cy="254000"/>
          </a:xfrm>
          <a:solidFill>
            <a:schemeClr val="accent2"/>
          </a:solidFill>
        </p:grpSpPr>
        <p:sp>
          <p:nvSpPr>
            <p:cNvPr id="130" name="Oval 129"/>
            <p:cNvSpPr/>
            <p:nvPr>
              <p:custDataLst>
                <p:tags r:id="rId3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1" name="Arc 130"/>
            <p:cNvSpPr/>
            <p:nvPr>
              <p:custDataLst>
                <p:tags r:id="rId3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2"/>
            </p:custDataLst>
          </p:nvPr>
        </p:nvGrpSpPr>
        <p:grpSpPr>
          <a:xfrm>
            <a:off x="9701138" y="833371"/>
            <a:ext cx="211667" cy="211667"/>
            <a:chOff x="762000" y="1270000"/>
            <a:chExt cx="254000" cy="254000"/>
          </a:xfrm>
        </p:grpSpPr>
        <p:sp>
          <p:nvSpPr>
            <p:cNvPr id="133" name="Oval 132"/>
            <p:cNvSpPr/>
            <p:nvPr>
              <p:custDataLst>
                <p:tags r:id="rId3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4" name="Arc 133"/>
            <p:cNvSpPr/>
            <p:nvPr>
              <p:custDataLst>
                <p:tags r:id="rId3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5"/>
            </p:custDataLst>
          </p:nvPr>
        </p:nvGrpSpPr>
        <p:grpSpPr>
          <a:xfrm>
            <a:off x="9968089" y="833371"/>
            <a:ext cx="211667" cy="211667"/>
            <a:chOff x="762000" y="1270000"/>
            <a:chExt cx="254000" cy="254000"/>
          </a:xfrm>
        </p:grpSpPr>
        <p:sp>
          <p:nvSpPr>
            <p:cNvPr id="136" name="Oval 135"/>
            <p:cNvSpPr/>
            <p:nvPr>
              <p:custDataLst>
                <p:tags r:id="rId3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7" name="Arc 136"/>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8"/>
            </p:custDataLst>
          </p:nvPr>
        </p:nvGrpSpPr>
        <p:grpSpPr>
          <a:xfrm>
            <a:off x="10235040" y="833371"/>
            <a:ext cx="211667" cy="211667"/>
            <a:chOff x="762000" y="1270000"/>
            <a:chExt cx="254000" cy="254000"/>
          </a:xfrm>
        </p:grpSpPr>
        <p:sp>
          <p:nvSpPr>
            <p:cNvPr id="139" name="Oval 138"/>
            <p:cNvSpPr/>
            <p:nvPr>
              <p:custDataLst>
                <p:tags r:id="rId3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0" name="Arc 139"/>
            <p:cNvSpPr/>
            <p:nvPr>
              <p:custDataLst>
                <p:tags r:id="rId4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1"/>
            </p:custDataLst>
          </p:nvPr>
        </p:nvGrpSpPr>
        <p:grpSpPr>
          <a:xfrm>
            <a:off x="10501992" y="833371"/>
            <a:ext cx="211667" cy="211667"/>
            <a:chOff x="762000" y="1270000"/>
            <a:chExt cx="254000" cy="254000"/>
          </a:xfrm>
          <a:solidFill>
            <a:schemeClr val="accent2"/>
          </a:solidFill>
        </p:grpSpPr>
        <p:sp>
          <p:nvSpPr>
            <p:cNvPr id="142" name="Oval 141"/>
            <p:cNvSpPr/>
            <p:nvPr>
              <p:custDataLst>
                <p:tags r:id="rId42"/>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3" name="Arc 142"/>
            <p:cNvSpPr/>
            <p:nvPr>
              <p:custDataLst>
                <p:tags r:id="rId43"/>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5379719"/>
            <a:ext cx="10502899" cy="1478278"/>
          </a:xfrm>
          <a:prstGeom prst="rect">
            <a:avLst/>
          </a:prstGeom>
          <a:blipFill>
            <a:blip r:embed="rId8" cstate="print"/>
            <a:stretch>
              <a:fillRect/>
            </a:stretch>
          </a:blipFill>
        </p:spPr>
        <p:txBody>
          <a:bodyPr wrap="square" lIns="0" tIns="0" rIns="0" bIns="0" rtlCol="0"/>
          <a:lstStyle/>
          <a:p>
            <a:endParaRPr sz="1500">
              <a:latin typeface="微软雅黑" panose="020B0503020204020204" charset="-122"/>
              <a:ea typeface="微软雅黑" panose="020B0503020204020204" charset="-122"/>
              <a:cs typeface="微软雅黑" panose="020B0503020204020204" charset="-122"/>
            </a:endParaRPr>
          </a:p>
        </p:txBody>
      </p:sp>
      <p:sp>
        <p:nvSpPr>
          <p:cNvPr id="17" name="bk object 17"/>
          <p:cNvSpPr/>
          <p:nvPr/>
        </p:nvSpPr>
        <p:spPr>
          <a:xfrm>
            <a:off x="9856470" y="6007099"/>
            <a:ext cx="1879600" cy="622300"/>
          </a:xfrm>
          <a:prstGeom prst="rect">
            <a:avLst/>
          </a:prstGeom>
          <a:blipFill>
            <a:blip r:embed="rId9" cstate="print"/>
            <a:stretch>
              <a:fillRect/>
            </a:stretch>
          </a:blipFill>
        </p:spPr>
        <p:txBody>
          <a:bodyPr wrap="square" lIns="0" tIns="0" rIns="0" bIns="0" rtlCol="0"/>
          <a:lstStyle/>
          <a:p>
            <a:endParaRPr sz="1500">
              <a:latin typeface="微软雅黑" panose="020B0503020204020204" charset="-122"/>
              <a:ea typeface="微软雅黑" panose="020B0503020204020204" charset="-122"/>
              <a:cs typeface="微软雅黑" panose="020B0503020204020204" charset="-122"/>
            </a:endParaRPr>
          </a:p>
        </p:txBody>
      </p:sp>
      <p:sp>
        <p:nvSpPr>
          <p:cNvPr id="2" name="Holder 2"/>
          <p:cNvSpPr>
            <a:spLocks noGrp="1"/>
          </p:cNvSpPr>
          <p:nvPr>
            <p:ph type="title"/>
          </p:nvPr>
        </p:nvSpPr>
        <p:spPr>
          <a:xfrm>
            <a:off x="459358" y="239078"/>
            <a:ext cx="11273282" cy="406400"/>
          </a:xfrm>
          <a:prstGeom prst="rect">
            <a:avLst/>
          </a:prstGeom>
        </p:spPr>
        <p:txBody>
          <a:bodyPr wrap="square" lIns="0" tIns="0" rIns="0" bIns="0">
            <a:spAutoFit/>
          </a:bodyPr>
          <a:lstStyle>
            <a:lvl1pPr>
              <a:defRPr sz="2665" b="0" i="0" u="sng">
                <a:solidFill>
                  <a:srgbClr val="31648A"/>
                </a:solidFill>
                <a:latin typeface="微软雅黑" panose="020B0503020204020204" charset="-122"/>
                <a:cs typeface="微软雅黑" panose="020B0503020204020204" charset="-122"/>
              </a:defRPr>
            </a:lvl1pPr>
          </a:lstStyle>
          <a:p/>
        </p:txBody>
      </p:sp>
      <p:sp>
        <p:nvSpPr>
          <p:cNvPr id="3" name="Holder 3"/>
          <p:cNvSpPr>
            <a:spLocks noGrp="1"/>
          </p:cNvSpPr>
          <p:nvPr>
            <p:ph type="body" idx="1"/>
          </p:nvPr>
        </p:nvSpPr>
        <p:spPr>
          <a:xfrm>
            <a:off x="536533" y="1999086"/>
            <a:ext cx="11118934" cy="228600"/>
          </a:xfrm>
          <a:prstGeom prst="rect">
            <a:avLst/>
          </a:prstGeom>
        </p:spPr>
        <p:txBody>
          <a:bodyPr wrap="square" lIns="0" tIns="0" rIns="0" bIns="0">
            <a:spAutoFit/>
          </a:bodyPr>
          <a:lstStyle>
            <a:lvl1pPr>
              <a:defRPr sz="1500" b="0" i="0">
                <a:solidFill>
                  <a:srgbClr val="31648A"/>
                </a:solidFill>
                <a:latin typeface="微软雅黑" panose="020B0503020204020204" charset="-122"/>
                <a:cs typeface="微软雅黑" panose="020B0503020204020204" charset="-122"/>
              </a:defRPr>
            </a:lvl1pPr>
          </a:lstStyle>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fld id="{312F0EEC-59C0-41B1-B95D-89E76C8A7342}" type="datetime1">
              <a:rPr lang="en-US" smtClean="0"/>
            </a:fld>
            <a:endParaRPr lang="en-US"/>
          </a:p>
        </p:txBody>
      </p:sp>
      <p:sp>
        <p:nvSpPr>
          <p:cNvPr id="6" name="Holder 6"/>
          <p:cNvSpPr>
            <a:spLocks noGrp="1"/>
          </p:cNvSpPr>
          <p:nvPr>
            <p:ph type="sldNum" sz="quarter" idx="7"/>
          </p:nvPr>
        </p:nvSpPr>
        <p:spPr>
          <a:xfrm>
            <a:off x="11903604" y="6528647"/>
            <a:ext cx="171979" cy="264583"/>
          </a:xfrm>
          <a:prstGeom prst="rect">
            <a:avLst/>
          </a:prstGeom>
        </p:spPr>
        <p:txBody>
          <a:bodyPr wrap="square" lIns="0" tIns="0" rIns="0" bIns="0">
            <a:spAutoFit/>
          </a:bodyPr>
          <a:lstStyle>
            <a:lvl1pPr>
              <a:defRPr sz="1000" b="0" i="0">
                <a:solidFill>
                  <a:schemeClr val="tx1"/>
                </a:solidFill>
                <a:latin typeface="微软雅黑" panose="020B0503020204020204" charset="-122"/>
                <a:ea typeface="微软雅黑" panose="020B0503020204020204" charset="-122"/>
                <a:cs typeface="Calibri Light" panose="020F0302020204030204"/>
              </a:defRPr>
            </a:lvl1pPr>
          </a:lstStyle>
          <a:p>
            <a:pPr marL="25400">
              <a:lnSpc>
                <a:spcPts val="1240"/>
              </a:lnSpc>
            </a:pPr>
            <a:fld id="{81D60167-4931-47E6-BA6A-407CBD079E47}" type="slidenum">
              <a:rPr dirty="0"/>
            </a:fld>
            <a:endParaRPr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Lst>
  <p:hf hdr="0" ftr="0" dt="0"/>
  <p:txStyles>
    <p:titleStyle>
      <a:lvl1pPr>
        <a:defRPr>
          <a:latin typeface="+mj-lt"/>
          <a:ea typeface="微软雅黑" panose="020B0503020204020204" charset="-122"/>
          <a:cs typeface="+mj-cs"/>
        </a:defRPr>
      </a:lvl1pPr>
    </p:titleStyle>
    <p:bodyStyle>
      <a:lvl1pPr marL="0">
        <a:defRPr>
          <a:latin typeface="+mn-lt"/>
          <a:ea typeface="微软雅黑" panose="020B0503020204020204" charset="-122"/>
          <a:cs typeface="+mn-cs"/>
        </a:defRPr>
      </a:lvl1pPr>
      <a:lvl2pPr marL="381000">
        <a:defRPr>
          <a:latin typeface="+mn-lt"/>
          <a:ea typeface="+mn-ea"/>
          <a:cs typeface="+mn-cs"/>
        </a:defRPr>
      </a:lvl2pPr>
      <a:lvl3pPr marL="762000">
        <a:defRPr>
          <a:latin typeface="+mn-lt"/>
          <a:ea typeface="+mn-ea"/>
          <a:cs typeface="+mn-cs"/>
        </a:defRPr>
      </a:lvl3pPr>
      <a:lvl4pPr marL="1143000">
        <a:defRPr>
          <a:latin typeface="+mn-lt"/>
          <a:ea typeface="+mn-ea"/>
          <a:cs typeface="+mn-cs"/>
        </a:defRPr>
      </a:lvl4pPr>
      <a:lvl5pPr marL="1524000">
        <a:defRPr>
          <a:latin typeface="+mn-lt"/>
          <a:ea typeface="+mn-ea"/>
          <a:cs typeface="+mn-cs"/>
        </a:defRPr>
      </a:lvl5pPr>
      <a:lvl6pPr marL="1905000">
        <a:defRPr>
          <a:latin typeface="+mn-lt"/>
          <a:ea typeface="+mn-ea"/>
          <a:cs typeface="+mn-cs"/>
        </a:defRPr>
      </a:lvl6pPr>
      <a:lvl7pPr marL="2286000">
        <a:defRPr>
          <a:latin typeface="+mn-lt"/>
          <a:ea typeface="+mn-ea"/>
          <a:cs typeface="+mn-cs"/>
        </a:defRPr>
      </a:lvl7pPr>
      <a:lvl8pPr marL="2667000">
        <a:defRPr>
          <a:latin typeface="+mn-lt"/>
          <a:ea typeface="+mn-ea"/>
          <a:cs typeface="+mn-cs"/>
        </a:defRPr>
      </a:lvl8pPr>
      <a:lvl9pPr marL="3048000">
        <a:defRPr>
          <a:latin typeface="+mn-lt"/>
          <a:ea typeface="+mn-ea"/>
          <a:cs typeface="+mn-cs"/>
        </a:defRPr>
      </a:lvl9pPr>
    </p:bodyStyle>
    <p:otherStyle>
      <a:lvl1pPr marL="0">
        <a:defRPr>
          <a:latin typeface="+mn-lt"/>
          <a:ea typeface="+mn-ea"/>
          <a:cs typeface="+mn-cs"/>
        </a:defRPr>
      </a:lvl1pPr>
      <a:lvl2pPr marL="381000">
        <a:defRPr>
          <a:latin typeface="+mn-lt"/>
          <a:ea typeface="+mn-ea"/>
          <a:cs typeface="+mn-cs"/>
        </a:defRPr>
      </a:lvl2pPr>
      <a:lvl3pPr marL="762000">
        <a:defRPr>
          <a:latin typeface="+mn-lt"/>
          <a:ea typeface="+mn-ea"/>
          <a:cs typeface="+mn-cs"/>
        </a:defRPr>
      </a:lvl3pPr>
      <a:lvl4pPr marL="1143000">
        <a:defRPr>
          <a:latin typeface="+mn-lt"/>
          <a:ea typeface="+mn-ea"/>
          <a:cs typeface="+mn-cs"/>
        </a:defRPr>
      </a:lvl4pPr>
      <a:lvl5pPr marL="1524000">
        <a:defRPr>
          <a:latin typeface="+mn-lt"/>
          <a:ea typeface="+mn-ea"/>
          <a:cs typeface="+mn-cs"/>
        </a:defRPr>
      </a:lvl5pPr>
      <a:lvl6pPr marL="1905000">
        <a:defRPr>
          <a:latin typeface="+mn-lt"/>
          <a:ea typeface="+mn-ea"/>
          <a:cs typeface="+mn-cs"/>
        </a:defRPr>
      </a:lvl6pPr>
      <a:lvl7pPr marL="2286000">
        <a:defRPr>
          <a:latin typeface="+mn-lt"/>
          <a:ea typeface="+mn-ea"/>
          <a:cs typeface="+mn-cs"/>
        </a:defRPr>
      </a:lvl7pPr>
      <a:lvl8pPr marL="2667000">
        <a:defRPr>
          <a:latin typeface="+mn-lt"/>
          <a:ea typeface="+mn-ea"/>
          <a:cs typeface="+mn-cs"/>
        </a:defRPr>
      </a:lvl8pPr>
      <a:lvl9pPr marL="30480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0" imgW="12700" imgH="12700" progId="TCLayout.ActiveDocument.1">
                  <p:embed/>
                </p:oleObj>
              </mc:Choice>
              <mc:Fallback>
                <p:oleObj name="think-cell 幻灯片" r:id="rId10" imgW="12700" imgH="12700" progId="TCLayout.ActiveDocument.1">
                  <p:embed/>
                  <p:pic>
                    <p:nvPicPr>
                      <p:cNvPr id="0" name="Object 1" hidden="1"/>
                      <p:cNvPicPr/>
                      <p:nvPr/>
                    </p:nvPicPr>
                    <p:blipFill>
                      <a:blip r:embed="rId11"/>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2"/>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a:t>Click to edit Master text styles</a:t>
            </a:r>
            <a:endParaRPr lang="en-US" altLang="zh-CN"/>
          </a:p>
          <a:p>
            <a:pPr lvl="1" latinLnBrk="0"/>
            <a:r>
              <a:rPr lang="en-US" altLang="zh-CN"/>
              <a:t>Second level</a:t>
            </a:r>
            <a:endParaRPr lang="en-US" altLang="zh-CN"/>
          </a:p>
          <a:p>
            <a:pPr lvl="2" latinLnBrk="0"/>
            <a:r>
              <a:rPr lang="en-US" altLang="zh-CN"/>
              <a:t>Third level</a:t>
            </a:r>
            <a:endParaRPr lang="en-US" altLang="zh-CN"/>
          </a:p>
          <a:p>
            <a:pPr lvl="3" latinLnBrk="0"/>
            <a:r>
              <a:rPr lang="en-US" altLang="zh-CN"/>
              <a:t>Fourth level</a:t>
            </a:r>
            <a:endParaRPr lang="en-US" altLang="zh-CN"/>
          </a:p>
          <a:p>
            <a:pPr lvl="4" latinLnBrk="0"/>
            <a:r>
              <a:rPr lang="en-US" altLang="zh-CN"/>
              <a:t>Fifth level</a:t>
            </a:r>
            <a:endParaRPr lang="en-US"/>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a:solidFill>
                    <a:srgbClr val="000000"/>
                  </a:solidFill>
                  <a:latin typeface="+mn-lt"/>
                  <a:ea typeface="微软雅黑" panose="020B0503020204020204" charset="-122"/>
                  <a:cs typeface="微软雅黑" panose="020B0503020204020204" charset="-122"/>
                </a:rPr>
                <a:t>Title</a:t>
              </a:r>
              <a:endParaRPr lang="x-none" sz="1500" b="1" baseline="0">
                <a:solidFill>
                  <a:srgbClr val="000000"/>
                </a:solidFill>
                <a:latin typeface="+mn-lt"/>
                <a:ea typeface="微软雅黑" panose="020B0503020204020204" charset="-122"/>
                <a:cs typeface="微软雅黑" panose="020B0503020204020204" charset="-122"/>
              </a:endParaRPr>
            </a:p>
            <a:p>
              <a:r>
                <a:rPr lang="x-none" sz="1500" baseline="0">
                  <a:solidFill>
                    <a:srgbClr val="808080"/>
                  </a:solidFill>
                  <a:latin typeface="+mn-lt"/>
                  <a:ea typeface="微软雅黑" panose="020B0503020204020204" charset="-122"/>
                  <a:cs typeface="微软雅黑" panose="020B0503020204020204" charset="-122"/>
                </a:rPr>
                <a:t>Unit of measure</a:t>
              </a:r>
              <a:endParaRPr lang="x-none" sz="1500" baseline="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a:solidFill>
                  <a:schemeClr val="tx1"/>
                </a:solidFill>
                <a:ea typeface="微软雅黑" panose="020B0503020204020204" charset="-122"/>
                <a:cs typeface="微软雅黑" panose="020B0503020204020204" charset="-122"/>
              </a:rPr>
              <a:t>1	Footnote</a:t>
            </a:r>
            <a:endParaRPr lang="en-US" sz="1000" i="1" baseline="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a:solidFill>
                  <a:schemeClr val="tx1"/>
                </a:solidFill>
                <a:latin typeface="+mn-lt"/>
                <a:ea typeface="微软雅黑" panose="020B0503020204020204" charset="-122"/>
                <a:cs typeface="微软雅黑" panose="020B0503020204020204" charset="-122"/>
              </a:rPr>
              <a:t>SOURCE: Source</a:t>
            </a:r>
            <a:endParaRPr lang="en-US" sz="1000" i="1" baseline="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chemeClr val="accent6"/>
                </a:solidFill>
                <a:latin typeface="+mn-lt"/>
                <a:ea typeface="微软雅黑" panose="020B0503020204020204" charset="-122"/>
                <a:cs typeface="微软雅黑" panose="020B0503020204020204" charset="-122"/>
              </a:rPr>
              <a:t>TRACKER</a:t>
            </a:r>
            <a:endParaRPr lang="en-US" sz="800" cap="all">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a:ea typeface="微软雅黑" panose="020B0503020204020204" charset="-122"/>
                <a:cs typeface="微软雅黑" panose="020B0503020204020204" charset="-122"/>
              </a:rPr>
              <a:t>Subtitle</a:t>
            </a:r>
            <a:endParaRPr lang="en-US" sz="1500" baseline="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a:solidFill>
                    <a:schemeClr val="accent6"/>
                  </a:solidFill>
                  <a:latin typeface="+mn-lt"/>
                  <a:ea typeface="微软雅黑" panose="020B0503020204020204" charset="-122"/>
                  <a:cs typeface="微软雅黑" panose="020B0503020204020204" charset="-122"/>
                </a:rPr>
                <a:t>STICKER</a:t>
              </a:r>
              <a:endParaRPr lang="x-none" sz="665" baseline="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4"/>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2"/>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6"/>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9"/>
            </p:custDataLst>
          </p:nvPr>
        </p:nvGrpSpPr>
        <p:grpSpPr>
          <a:xfrm>
            <a:off x="9434188" y="833371"/>
            <a:ext cx="211667" cy="211667"/>
            <a:chOff x="762000" y="1270000"/>
            <a:chExt cx="254000" cy="254000"/>
          </a:xfrm>
          <a:solidFill>
            <a:schemeClr val="accent2"/>
          </a:solidFill>
        </p:grpSpPr>
        <p:sp>
          <p:nvSpPr>
            <p:cNvPr id="130" name="Oval 129"/>
            <p:cNvSpPr/>
            <p:nvPr>
              <p:custDataLst>
                <p:tags r:id="rId3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1" name="Arc 130"/>
            <p:cNvSpPr/>
            <p:nvPr>
              <p:custDataLst>
                <p:tags r:id="rId3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2"/>
            </p:custDataLst>
          </p:nvPr>
        </p:nvGrpSpPr>
        <p:grpSpPr>
          <a:xfrm>
            <a:off x="9701138" y="833371"/>
            <a:ext cx="211667" cy="211667"/>
            <a:chOff x="762000" y="1270000"/>
            <a:chExt cx="254000" cy="254000"/>
          </a:xfrm>
        </p:grpSpPr>
        <p:sp>
          <p:nvSpPr>
            <p:cNvPr id="133" name="Oval 132"/>
            <p:cNvSpPr/>
            <p:nvPr>
              <p:custDataLst>
                <p:tags r:id="rId3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4" name="Arc 133"/>
            <p:cNvSpPr/>
            <p:nvPr>
              <p:custDataLst>
                <p:tags r:id="rId3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5"/>
            </p:custDataLst>
          </p:nvPr>
        </p:nvGrpSpPr>
        <p:grpSpPr>
          <a:xfrm>
            <a:off x="9968089" y="833371"/>
            <a:ext cx="211667" cy="211667"/>
            <a:chOff x="762000" y="1270000"/>
            <a:chExt cx="254000" cy="254000"/>
          </a:xfrm>
        </p:grpSpPr>
        <p:sp>
          <p:nvSpPr>
            <p:cNvPr id="136" name="Oval 135"/>
            <p:cNvSpPr/>
            <p:nvPr>
              <p:custDataLst>
                <p:tags r:id="rId3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7" name="Arc 136"/>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8"/>
            </p:custDataLst>
          </p:nvPr>
        </p:nvGrpSpPr>
        <p:grpSpPr>
          <a:xfrm>
            <a:off x="10235040" y="833371"/>
            <a:ext cx="211667" cy="211667"/>
            <a:chOff x="762000" y="1270000"/>
            <a:chExt cx="254000" cy="254000"/>
          </a:xfrm>
        </p:grpSpPr>
        <p:sp>
          <p:nvSpPr>
            <p:cNvPr id="139" name="Oval 138"/>
            <p:cNvSpPr/>
            <p:nvPr>
              <p:custDataLst>
                <p:tags r:id="rId3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0" name="Arc 139"/>
            <p:cNvSpPr/>
            <p:nvPr>
              <p:custDataLst>
                <p:tags r:id="rId4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1"/>
            </p:custDataLst>
          </p:nvPr>
        </p:nvGrpSpPr>
        <p:grpSpPr>
          <a:xfrm>
            <a:off x="10501992" y="833371"/>
            <a:ext cx="211667" cy="211667"/>
            <a:chOff x="762000" y="1270000"/>
            <a:chExt cx="254000" cy="254000"/>
          </a:xfrm>
          <a:solidFill>
            <a:schemeClr val="accent2"/>
          </a:solidFill>
        </p:grpSpPr>
        <p:sp>
          <p:nvSpPr>
            <p:cNvPr id="142" name="Oval 141"/>
            <p:cNvSpPr/>
            <p:nvPr>
              <p:custDataLst>
                <p:tags r:id="rId42"/>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3" name="Arc 142"/>
            <p:cNvSpPr/>
            <p:nvPr>
              <p:custDataLst>
                <p:tags r:id="rId43"/>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1" imgW="12700" imgH="12700" progId="TCLayout.ActiveDocument.1">
                  <p:embed/>
                </p:oleObj>
              </mc:Choice>
              <mc:Fallback>
                <p:oleObj name="think-cell 幻灯片" r:id="rId11" imgW="12700" imgH="12700" progId="TCLayout.ActiveDocument.1">
                  <p:embed/>
                  <p:pic>
                    <p:nvPicPr>
                      <p:cNvPr id="0" name="Object 1" hidden="1"/>
                      <p:cNvPicPr/>
                      <p:nvPr/>
                    </p:nvPicPr>
                    <p:blipFill>
                      <a:blip r:embed="rId12"/>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3"/>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7"/>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8"/>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0"/>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1"/>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2"/>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3"/>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4"/>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7"/>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0"/>
            </p:custDataLst>
          </p:nvPr>
        </p:nvGrpSpPr>
        <p:grpSpPr>
          <a:xfrm>
            <a:off x="9434188" y="833371"/>
            <a:ext cx="211667" cy="211667"/>
            <a:chOff x="762000" y="1270000"/>
            <a:chExt cx="254000" cy="254000"/>
          </a:xfrm>
          <a:solidFill>
            <a:schemeClr val="accent2"/>
          </a:solidFill>
        </p:grpSpPr>
        <p:sp>
          <p:nvSpPr>
            <p:cNvPr id="130" name="Oval 129"/>
            <p:cNvSpPr/>
            <p:nvPr>
              <p:custDataLst>
                <p:tags r:id="rId3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3"/>
            </p:custDataLst>
          </p:nvPr>
        </p:nvGrpSpPr>
        <p:grpSpPr>
          <a:xfrm>
            <a:off x="9701138" y="833371"/>
            <a:ext cx="211667" cy="211667"/>
            <a:chOff x="762000" y="1270000"/>
            <a:chExt cx="254000" cy="254000"/>
          </a:xfrm>
        </p:grpSpPr>
        <p:sp>
          <p:nvSpPr>
            <p:cNvPr id="133" name="Oval 132"/>
            <p:cNvSpPr/>
            <p:nvPr>
              <p:custDataLst>
                <p:tags r:id="rId3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5"/>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6"/>
            </p:custDataLst>
          </p:nvPr>
        </p:nvGrpSpPr>
        <p:grpSpPr>
          <a:xfrm>
            <a:off x="9968089" y="833371"/>
            <a:ext cx="211667" cy="211667"/>
            <a:chOff x="762000" y="1270000"/>
            <a:chExt cx="254000" cy="254000"/>
          </a:xfrm>
        </p:grpSpPr>
        <p:sp>
          <p:nvSpPr>
            <p:cNvPr id="136" name="Oval 135"/>
            <p:cNvSpPr/>
            <p:nvPr>
              <p:custDataLst>
                <p:tags r:id="rId3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9"/>
            </p:custDataLst>
          </p:nvPr>
        </p:nvGrpSpPr>
        <p:grpSpPr>
          <a:xfrm>
            <a:off x="10235040" y="833371"/>
            <a:ext cx="211667" cy="211667"/>
            <a:chOff x="762000" y="1270000"/>
            <a:chExt cx="254000" cy="254000"/>
          </a:xfrm>
        </p:grpSpPr>
        <p:sp>
          <p:nvSpPr>
            <p:cNvPr id="139" name="Oval 138"/>
            <p:cNvSpPr/>
            <p:nvPr>
              <p:custDataLst>
                <p:tags r:id="rId4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41"/>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2"/>
            </p:custDataLst>
          </p:nvPr>
        </p:nvGrpSpPr>
        <p:grpSpPr>
          <a:xfrm>
            <a:off x="10501992" y="833371"/>
            <a:ext cx="211667" cy="211667"/>
            <a:chOff x="762000" y="1270000"/>
            <a:chExt cx="254000" cy="254000"/>
          </a:xfrm>
          <a:solidFill>
            <a:schemeClr val="accent2"/>
          </a:solidFill>
        </p:grpSpPr>
        <p:sp>
          <p:nvSpPr>
            <p:cNvPr id="142" name="Oval 141"/>
            <p:cNvSpPr/>
            <p:nvPr>
              <p:custDataLst>
                <p:tags r:id="rId43"/>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4"/>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1"/>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4" imgW="12700" imgH="12700" progId="TCLayout.ActiveDocument.1">
                  <p:embed/>
                </p:oleObj>
              </mc:Choice>
              <mc:Fallback>
                <p:oleObj name="think-cell 幻灯片" r:id="rId14" imgW="12700" imgH="12700" progId="TCLayout.ActiveDocument.1">
                  <p:embed/>
                  <p:pic>
                    <p:nvPicPr>
                      <p:cNvPr id="0" name="Object 1" hidden="1"/>
                      <p:cNvPicPr/>
                      <p:nvPr/>
                    </p:nvPicPr>
                    <p:blipFill>
                      <a:blip r:embed="rId15"/>
                      <a:stretch>
                        <a:fillRect/>
                      </a:stretch>
                    </p:blipFill>
                    <p:spPr>
                      <a:xfrm>
                        <a:off x="0" y="1"/>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6"/>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7" y="2032797"/>
            <a:ext cx="5254845" cy="476206"/>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7"/>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0" y="759745"/>
            <a:ext cx="298569" cy="124460"/>
            <a:chOff x="8389785" y="285750"/>
            <a:chExt cx="351131" cy="146379"/>
          </a:xfrm>
        </p:grpSpPr>
        <p:sp>
          <p:nvSpPr>
            <p:cNvPr id="88" name="StickerRectangle"/>
            <p:cNvSpPr>
              <a:spLocks noChangeArrowheads="1"/>
            </p:cNvSpPr>
            <p:nvPr/>
          </p:nvSpPr>
          <p:spPr bwMode="gray">
            <a:xfrm>
              <a:off x="8389785" y="285750"/>
              <a:ext cx="350990" cy="14637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5"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5" y="432064"/>
              <a:ext cx="350991"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507" y="759746"/>
            <a:ext cx="586820" cy="844761"/>
            <a:chOff x="7835905" y="279400"/>
            <a:chExt cx="690125"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7" y="54927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5" y="759746"/>
            <a:ext cx="848693" cy="617999"/>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5" y="759746"/>
            <a:ext cx="643513" cy="1110878"/>
            <a:chOff x="7769225" y="250825"/>
            <a:chExt cx="756798" cy="1306516"/>
          </a:xfrm>
        </p:grpSpPr>
        <p:grpSp>
          <p:nvGrpSpPr>
            <p:cNvPr id="109" name="MoonLegend1"/>
            <p:cNvGrpSpPr>
              <a:grpSpLocks noChangeAspect="1"/>
            </p:cNvGrpSpPr>
            <p:nvPr>
              <p:custDataLst>
                <p:tags r:id="rId1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3"/>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4"/>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7"/>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3"/>
            </p:custDataLst>
          </p:nvPr>
        </p:nvGrpSpPr>
        <p:grpSpPr>
          <a:xfrm>
            <a:off x="9434188" y="833372"/>
            <a:ext cx="211667" cy="211667"/>
            <a:chOff x="762000" y="1270000"/>
            <a:chExt cx="254000" cy="254000"/>
          </a:xfrm>
          <a:solidFill>
            <a:schemeClr val="accent2"/>
          </a:solidFill>
        </p:grpSpPr>
        <p:sp>
          <p:nvSpPr>
            <p:cNvPr id="130" name="Oval 129"/>
            <p:cNvSpPr/>
            <p:nvPr>
              <p:custDataLst>
                <p:tags r:id="rId3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6"/>
            </p:custDataLst>
          </p:nvPr>
        </p:nvGrpSpPr>
        <p:grpSpPr>
          <a:xfrm>
            <a:off x="9701138" y="833372"/>
            <a:ext cx="211667" cy="211667"/>
            <a:chOff x="762000" y="1270000"/>
            <a:chExt cx="254000" cy="254000"/>
          </a:xfrm>
        </p:grpSpPr>
        <p:sp>
          <p:nvSpPr>
            <p:cNvPr id="133" name="Oval 132"/>
            <p:cNvSpPr/>
            <p:nvPr>
              <p:custDataLst>
                <p:tags r:id="rId3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8"/>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9"/>
            </p:custDataLst>
          </p:nvPr>
        </p:nvGrpSpPr>
        <p:grpSpPr>
          <a:xfrm>
            <a:off x="9968090" y="833372"/>
            <a:ext cx="211667" cy="211667"/>
            <a:chOff x="762000" y="1270000"/>
            <a:chExt cx="254000" cy="254000"/>
          </a:xfrm>
        </p:grpSpPr>
        <p:sp>
          <p:nvSpPr>
            <p:cNvPr id="136" name="Oval 135"/>
            <p:cNvSpPr/>
            <p:nvPr>
              <p:custDataLst>
                <p:tags r:id="rId4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2"/>
            </p:custDataLst>
          </p:nvPr>
        </p:nvGrpSpPr>
        <p:grpSpPr>
          <a:xfrm>
            <a:off x="10235041" y="833372"/>
            <a:ext cx="211667" cy="211667"/>
            <a:chOff x="762000" y="1270000"/>
            <a:chExt cx="254000" cy="254000"/>
          </a:xfrm>
        </p:grpSpPr>
        <p:sp>
          <p:nvSpPr>
            <p:cNvPr id="139" name="Oval 138"/>
            <p:cNvSpPr/>
            <p:nvPr>
              <p:custDataLst>
                <p:tags r:id="rId4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44"/>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5"/>
            </p:custDataLst>
          </p:nvPr>
        </p:nvGrpSpPr>
        <p:grpSpPr>
          <a:xfrm>
            <a:off x="10501993" y="833372"/>
            <a:ext cx="211667" cy="211667"/>
            <a:chOff x="762000" y="1270000"/>
            <a:chExt cx="254000" cy="254000"/>
          </a:xfrm>
          <a:solidFill>
            <a:schemeClr val="accent2"/>
          </a:solidFill>
        </p:grpSpPr>
        <p:sp>
          <p:nvSpPr>
            <p:cNvPr id="142" name="Oval 141"/>
            <p:cNvSpPr/>
            <p:nvPr>
              <p:custDataLst>
                <p:tags r:id="rId4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4"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hdr="0" ftr="0" dt="0"/>
  <p:txStyles>
    <p:titleStyle>
      <a:lvl1pPr algn="l" defTabSz="895350" rtl="0" eaLnBrk="1" fontAlgn="base" hangingPunct="1">
        <a:spcBef>
          <a:spcPct val="0"/>
        </a:spcBef>
        <a:spcAft>
          <a:spcPct val="0"/>
        </a:spcAft>
        <a:tabLst>
          <a:tab pos="269240"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1"/>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4" imgW="12700" imgH="12700" progId="TCLayout.ActiveDocument.1">
                  <p:embed/>
                </p:oleObj>
              </mc:Choice>
              <mc:Fallback>
                <p:oleObj name="think-cell 幻灯片" r:id="rId14" imgW="12700" imgH="12700" progId="TCLayout.ActiveDocument.1">
                  <p:embed/>
                  <p:pic>
                    <p:nvPicPr>
                      <p:cNvPr id="0" name="Object 1" hidden="1"/>
                      <p:cNvPicPr/>
                      <p:nvPr/>
                    </p:nvPicPr>
                    <p:blipFill>
                      <a:blip r:embed="rId15"/>
                      <a:stretch>
                        <a:fillRect/>
                      </a:stretch>
                    </p:blipFill>
                    <p:spPr>
                      <a:xfrm>
                        <a:off x="0" y="1"/>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6"/>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7" y="2032797"/>
            <a:ext cx="5254845" cy="476206"/>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7"/>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0" y="759745"/>
            <a:ext cx="298569" cy="124460"/>
            <a:chOff x="8389785" y="285750"/>
            <a:chExt cx="351131" cy="146379"/>
          </a:xfrm>
        </p:grpSpPr>
        <p:sp>
          <p:nvSpPr>
            <p:cNvPr id="88" name="StickerRectangle"/>
            <p:cNvSpPr>
              <a:spLocks noChangeArrowheads="1"/>
            </p:cNvSpPr>
            <p:nvPr/>
          </p:nvSpPr>
          <p:spPr bwMode="gray">
            <a:xfrm>
              <a:off x="8389785" y="285750"/>
              <a:ext cx="350990" cy="14637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5"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5" y="432064"/>
              <a:ext cx="350991"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507" y="759746"/>
            <a:ext cx="586820" cy="844761"/>
            <a:chOff x="7835905" y="279400"/>
            <a:chExt cx="690125"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7" y="54927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5" y="759746"/>
            <a:ext cx="848693" cy="617999"/>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5" y="759746"/>
            <a:ext cx="643513" cy="1110878"/>
            <a:chOff x="7769225" y="250825"/>
            <a:chExt cx="756798" cy="1306516"/>
          </a:xfrm>
        </p:grpSpPr>
        <p:grpSp>
          <p:nvGrpSpPr>
            <p:cNvPr id="109" name="MoonLegend1"/>
            <p:cNvGrpSpPr>
              <a:grpSpLocks noChangeAspect="1"/>
            </p:cNvGrpSpPr>
            <p:nvPr>
              <p:custDataLst>
                <p:tags r:id="rId1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3"/>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4"/>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7"/>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3"/>
            </p:custDataLst>
          </p:nvPr>
        </p:nvGrpSpPr>
        <p:grpSpPr>
          <a:xfrm>
            <a:off x="9434188" y="833372"/>
            <a:ext cx="211667" cy="211667"/>
            <a:chOff x="762000" y="1270000"/>
            <a:chExt cx="254000" cy="254000"/>
          </a:xfrm>
          <a:solidFill>
            <a:schemeClr val="accent2"/>
          </a:solidFill>
        </p:grpSpPr>
        <p:sp>
          <p:nvSpPr>
            <p:cNvPr id="130" name="Oval 129"/>
            <p:cNvSpPr/>
            <p:nvPr>
              <p:custDataLst>
                <p:tags r:id="rId3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6"/>
            </p:custDataLst>
          </p:nvPr>
        </p:nvGrpSpPr>
        <p:grpSpPr>
          <a:xfrm>
            <a:off x="9701138" y="833372"/>
            <a:ext cx="211667" cy="211667"/>
            <a:chOff x="762000" y="1270000"/>
            <a:chExt cx="254000" cy="254000"/>
          </a:xfrm>
        </p:grpSpPr>
        <p:sp>
          <p:nvSpPr>
            <p:cNvPr id="133" name="Oval 132"/>
            <p:cNvSpPr/>
            <p:nvPr>
              <p:custDataLst>
                <p:tags r:id="rId3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8"/>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9"/>
            </p:custDataLst>
          </p:nvPr>
        </p:nvGrpSpPr>
        <p:grpSpPr>
          <a:xfrm>
            <a:off x="9968090" y="833372"/>
            <a:ext cx="211667" cy="211667"/>
            <a:chOff x="762000" y="1270000"/>
            <a:chExt cx="254000" cy="254000"/>
          </a:xfrm>
        </p:grpSpPr>
        <p:sp>
          <p:nvSpPr>
            <p:cNvPr id="136" name="Oval 135"/>
            <p:cNvSpPr/>
            <p:nvPr>
              <p:custDataLst>
                <p:tags r:id="rId4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2"/>
            </p:custDataLst>
          </p:nvPr>
        </p:nvGrpSpPr>
        <p:grpSpPr>
          <a:xfrm>
            <a:off x="10235041" y="833372"/>
            <a:ext cx="211667" cy="211667"/>
            <a:chOff x="762000" y="1270000"/>
            <a:chExt cx="254000" cy="254000"/>
          </a:xfrm>
        </p:grpSpPr>
        <p:sp>
          <p:nvSpPr>
            <p:cNvPr id="139" name="Oval 138"/>
            <p:cNvSpPr/>
            <p:nvPr>
              <p:custDataLst>
                <p:tags r:id="rId4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44"/>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5"/>
            </p:custDataLst>
          </p:nvPr>
        </p:nvGrpSpPr>
        <p:grpSpPr>
          <a:xfrm>
            <a:off x="10501993" y="833372"/>
            <a:ext cx="211667" cy="211667"/>
            <a:chOff x="762000" y="1270000"/>
            <a:chExt cx="254000" cy="254000"/>
          </a:xfrm>
          <a:solidFill>
            <a:schemeClr val="accent2"/>
          </a:solidFill>
        </p:grpSpPr>
        <p:sp>
          <p:nvSpPr>
            <p:cNvPr id="142" name="Oval 141"/>
            <p:cNvSpPr/>
            <p:nvPr>
              <p:custDataLst>
                <p:tags r:id="rId4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4"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hdr="0" ftr="0" dt="0"/>
  <p:txStyles>
    <p:titleStyle>
      <a:lvl1pPr algn="l" defTabSz="895350" rtl="0" eaLnBrk="1" fontAlgn="base" hangingPunct="1">
        <a:spcBef>
          <a:spcPct val="0"/>
        </a:spcBef>
        <a:spcAft>
          <a:spcPct val="0"/>
        </a:spcAft>
        <a:tabLst>
          <a:tab pos="269240"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3" imgW="12700" imgH="12700" progId="TCLayout.ActiveDocument.1">
                  <p:embed/>
                </p:oleObj>
              </mc:Choice>
              <mc:Fallback>
                <p:oleObj name="think-cell 幻灯片" r:id="rId13" imgW="12700" imgH="12700" progId="TCLayout.ActiveDocument.1">
                  <p:embed/>
                  <p:pic>
                    <p:nvPicPr>
                      <p:cNvPr id="0" name="Object 1" hidden="1"/>
                      <p:cNvPicPr/>
                      <p:nvPr/>
                    </p:nvPicPr>
                    <p:blipFill>
                      <a:blip r:embed="rId14"/>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5"/>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3"/>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6"/>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2"/>
            </p:custDataLst>
          </p:nvPr>
        </p:nvGrpSpPr>
        <p:grpSpPr>
          <a:xfrm>
            <a:off x="9434188" y="833371"/>
            <a:ext cx="211667" cy="211667"/>
            <a:chOff x="762000" y="1270000"/>
            <a:chExt cx="254000" cy="254000"/>
          </a:xfrm>
          <a:solidFill>
            <a:schemeClr val="accent2"/>
          </a:solidFill>
        </p:grpSpPr>
        <p:sp>
          <p:nvSpPr>
            <p:cNvPr id="130" name="Oval 129"/>
            <p:cNvSpPr/>
            <p:nvPr>
              <p:custDataLst>
                <p:tags r:id="rId3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5"/>
            </p:custDataLst>
          </p:nvPr>
        </p:nvGrpSpPr>
        <p:grpSpPr>
          <a:xfrm>
            <a:off x="9701138" y="833371"/>
            <a:ext cx="211667" cy="211667"/>
            <a:chOff x="762000" y="1270000"/>
            <a:chExt cx="254000" cy="254000"/>
          </a:xfrm>
        </p:grpSpPr>
        <p:sp>
          <p:nvSpPr>
            <p:cNvPr id="133" name="Oval 132"/>
            <p:cNvSpPr/>
            <p:nvPr>
              <p:custDataLst>
                <p:tags r:id="rId3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8"/>
            </p:custDataLst>
          </p:nvPr>
        </p:nvGrpSpPr>
        <p:grpSpPr>
          <a:xfrm>
            <a:off x="9968089" y="833371"/>
            <a:ext cx="211667" cy="211667"/>
            <a:chOff x="762000" y="1270000"/>
            <a:chExt cx="254000" cy="254000"/>
          </a:xfrm>
        </p:grpSpPr>
        <p:sp>
          <p:nvSpPr>
            <p:cNvPr id="136" name="Oval 135"/>
            <p:cNvSpPr/>
            <p:nvPr>
              <p:custDataLst>
                <p:tags r:id="rId3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1"/>
            </p:custDataLst>
          </p:nvPr>
        </p:nvGrpSpPr>
        <p:grpSpPr>
          <a:xfrm>
            <a:off x="10235040" y="833371"/>
            <a:ext cx="211667" cy="211667"/>
            <a:chOff x="762000" y="1270000"/>
            <a:chExt cx="254000" cy="254000"/>
          </a:xfrm>
        </p:grpSpPr>
        <p:sp>
          <p:nvSpPr>
            <p:cNvPr id="139" name="Oval 138"/>
            <p:cNvSpPr/>
            <p:nvPr>
              <p:custDataLst>
                <p:tags r:id="rId4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4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4"/>
            </p:custDataLst>
          </p:nvPr>
        </p:nvGrpSpPr>
        <p:grpSpPr>
          <a:xfrm>
            <a:off x="10501992" y="833371"/>
            <a:ext cx="211667" cy="211667"/>
            <a:chOff x="762000" y="1270000"/>
            <a:chExt cx="254000" cy="254000"/>
          </a:xfrm>
          <a:solidFill>
            <a:schemeClr val="accent2"/>
          </a:solidFill>
        </p:grpSpPr>
        <p:sp>
          <p:nvSpPr>
            <p:cNvPr id="142" name="Oval 141"/>
            <p:cNvSpPr/>
            <p:nvPr>
              <p:custDataLst>
                <p:tags r:id="rId4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1"/>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14" imgW="12700" imgH="12700" progId="TCLayout.ActiveDocument.1">
                  <p:embed/>
                </p:oleObj>
              </mc:Choice>
              <mc:Fallback>
                <p:oleObj name="think-cell 幻灯片" r:id="rId14" imgW="12700" imgH="12700" progId="TCLayout.ActiveDocument.1">
                  <p:embed/>
                  <p:pic>
                    <p:nvPicPr>
                      <p:cNvPr id="0" name="Object 1" hidden="1"/>
                      <p:cNvPicPr/>
                      <p:nvPr/>
                    </p:nvPicPr>
                    <p:blipFill>
                      <a:blip r:embed="rId15"/>
                      <a:stretch>
                        <a:fillRect/>
                      </a:stretch>
                    </p:blipFill>
                    <p:spPr>
                      <a:xfrm>
                        <a:off x="0" y="1"/>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6"/>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ltGray">
          <a:xfrm>
            <a:off x="9856059" y="6007351"/>
            <a:ext cx="1880564" cy="622211"/>
          </a:xfrm>
          <a:prstGeom prst="rect">
            <a:avLst/>
          </a:prstGeom>
        </p:spPr>
      </p:pic>
      <p:sp>
        <p:nvSpPr>
          <p:cNvPr id="19" name="Title Placeholder 2"/>
          <p:cNvSpPr>
            <a:spLocks noGrp="1" noChangeArrowheads="1"/>
          </p:cNvSpPr>
          <p:nvPr>
            <p:ph type="title"/>
          </p:nvPr>
        </p:nvSpPr>
        <p:spPr bwMode="gray">
          <a:xfrm>
            <a:off x="470788" y="360857"/>
            <a:ext cx="1125042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a:t>Click to edit Master text styles</a:t>
            </a:r>
            <a:endParaRPr lang="en-US" altLang="zh-CN"/>
          </a:p>
          <a:p>
            <a:pPr lvl="1" latinLnBrk="0"/>
            <a:r>
              <a:rPr lang="en-US" altLang="zh-CN"/>
              <a:t>Second level</a:t>
            </a:r>
            <a:endParaRPr lang="en-US" altLang="zh-CN"/>
          </a:p>
          <a:p>
            <a:pPr lvl="2" latinLnBrk="0"/>
            <a:r>
              <a:rPr lang="en-US" altLang="zh-CN"/>
              <a:t>Third level</a:t>
            </a:r>
            <a:endParaRPr lang="en-US" altLang="zh-CN"/>
          </a:p>
          <a:p>
            <a:pPr lvl="3" latinLnBrk="0"/>
            <a:r>
              <a:rPr lang="en-US" altLang="zh-CN"/>
              <a:t>Fourth level</a:t>
            </a:r>
            <a:endParaRPr lang="en-US" altLang="zh-CN"/>
          </a:p>
          <a:p>
            <a:pPr lvl="4" latinLnBrk="0"/>
            <a:r>
              <a:rPr lang="en-US" altLang="zh-CN"/>
              <a:t>Fifth level</a:t>
            </a:r>
            <a:endParaRPr lang="en-US"/>
          </a:p>
        </p:txBody>
      </p:sp>
      <p:grpSp>
        <p:nvGrpSpPr>
          <p:cNvPr id="15" name="ACET" hidden="1"/>
          <p:cNvGrpSpPr/>
          <p:nvPr/>
        </p:nvGrpSpPr>
        <p:grpSpPr bwMode="gray">
          <a:xfrm>
            <a:off x="455717" y="2032797"/>
            <a:ext cx="5254845" cy="476206"/>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a:solidFill>
                    <a:srgbClr val="000000"/>
                  </a:solidFill>
                  <a:latin typeface="+mn-lt"/>
                  <a:ea typeface="微软雅黑" panose="020B0503020204020204" charset="-122"/>
                  <a:cs typeface="微软雅黑" panose="020B0503020204020204" charset="-122"/>
                </a:rPr>
                <a:t>Title</a:t>
              </a:r>
              <a:endParaRPr lang="x-none" sz="1500" b="1" baseline="0">
                <a:solidFill>
                  <a:srgbClr val="000000"/>
                </a:solidFill>
                <a:latin typeface="+mn-lt"/>
                <a:ea typeface="微软雅黑" panose="020B0503020204020204" charset="-122"/>
                <a:cs typeface="微软雅黑" panose="020B0503020204020204" charset="-122"/>
              </a:endParaRPr>
            </a:p>
            <a:p>
              <a:r>
                <a:rPr lang="x-none" sz="1500" baseline="0">
                  <a:solidFill>
                    <a:srgbClr val="808080"/>
                  </a:solidFill>
                  <a:latin typeface="+mn-lt"/>
                  <a:ea typeface="微软雅黑" panose="020B0503020204020204" charset="-122"/>
                  <a:cs typeface="微软雅黑" panose="020B0503020204020204" charset="-122"/>
                </a:rPr>
                <a:t>Unit of measure</a:t>
              </a:r>
              <a:endParaRPr lang="x-none" sz="1500" baseline="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a:solidFill>
                  <a:schemeClr val="tx1"/>
                </a:solidFill>
                <a:ea typeface="微软雅黑" panose="020B0503020204020204" charset="-122"/>
                <a:cs typeface="微软雅黑" panose="020B0503020204020204" charset="-122"/>
              </a:rPr>
              <a:t>1	Footnote</a:t>
            </a:r>
            <a:endParaRPr lang="en-US" sz="1000" i="1" baseline="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000" i="1" baseline="0">
                <a:solidFill>
                  <a:schemeClr val="tx1"/>
                </a:solidFill>
                <a:latin typeface="+mn-lt"/>
                <a:ea typeface="微软雅黑" panose="020B0503020204020204" charset="-122"/>
                <a:cs typeface="微软雅黑" panose="020B0503020204020204" charset="-122"/>
              </a:rPr>
              <a:t>SOURCE: Source</a:t>
            </a:r>
            <a:endParaRPr lang="en-US" sz="1000" i="1" baseline="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chemeClr val="accent6"/>
                </a:solidFill>
                <a:latin typeface="+mn-lt"/>
                <a:ea typeface="微软雅黑" panose="020B0503020204020204" charset="-122"/>
                <a:cs typeface="微软雅黑" panose="020B0503020204020204" charset="-122"/>
              </a:rPr>
              <a:t>TRACKER</a:t>
            </a:r>
            <a:endParaRPr lang="en-US" sz="800" cap="all">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7"/>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a:ea typeface="微软雅黑" panose="020B0503020204020204" charset="-122"/>
                <a:cs typeface="微软雅黑" panose="020B0503020204020204" charset="-122"/>
              </a:rPr>
              <a:t>Subtitle</a:t>
            </a:r>
            <a:endParaRPr lang="en-US" sz="1500" baseline="0">
              <a:ea typeface="微软雅黑" panose="020B0503020204020204" charset="-122"/>
              <a:cs typeface="微软雅黑" panose="020B0503020204020204" charset="-122"/>
            </a:endParaRPr>
          </a:p>
        </p:txBody>
      </p:sp>
      <p:grpSp>
        <p:nvGrpSpPr>
          <p:cNvPr id="87" name="Sticker" hidden="1"/>
          <p:cNvGrpSpPr/>
          <p:nvPr/>
        </p:nvGrpSpPr>
        <p:grpSpPr bwMode="gray">
          <a:xfrm>
            <a:off x="11422760" y="759745"/>
            <a:ext cx="298569" cy="124460"/>
            <a:chOff x="8389785" y="285750"/>
            <a:chExt cx="351131" cy="146379"/>
          </a:xfrm>
        </p:grpSpPr>
        <p:sp>
          <p:nvSpPr>
            <p:cNvPr id="88" name="StickerRectangle"/>
            <p:cNvSpPr>
              <a:spLocks noChangeArrowheads="1"/>
            </p:cNvSpPr>
            <p:nvPr/>
          </p:nvSpPr>
          <p:spPr bwMode="gray">
            <a:xfrm>
              <a:off x="8389785" y="285750"/>
              <a:ext cx="350990" cy="14637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a:solidFill>
                    <a:schemeClr val="accent6"/>
                  </a:solidFill>
                  <a:latin typeface="+mn-lt"/>
                  <a:ea typeface="微软雅黑" panose="020B0503020204020204" charset="-122"/>
                  <a:cs typeface="微软雅黑" panose="020B0503020204020204" charset="-122"/>
                </a:rPr>
                <a:t>STICKER</a:t>
              </a:r>
              <a:endParaRPr lang="x-none" sz="665" baseline="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5"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5" y="432064"/>
              <a:ext cx="350991"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507" y="759746"/>
            <a:ext cx="586820" cy="844761"/>
            <a:chOff x="7835905" y="279400"/>
            <a:chExt cx="690125"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7" y="54927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5" y="759746"/>
            <a:ext cx="848693" cy="617999"/>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5" y="759746"/>
            <a:ext cx="643513" cy="1110878"/>
            <a:chOff x="7769225" y="250825"/>
            <a:chExt cx="756798" cy="1306516"/>
          </a:xfrm>
        </p:grpSpPr>
        <p:grpSp>
          <p:nvGrpSpPr>
            <p:cNvPr id="109" name="MoonLegend1"/>
            <p:cNvGrpSpPr>
              <a:grpSpLocks noChangeAspect="1"/>
            </p:cNvGrpSpPr>
            <p:nvPr>
              <p:custDataLst>
                <p:tags r:id="rId1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2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23"/>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24"/>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7"/>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6"/>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1"/>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a:latin typeface="+mn-lt"/>
                  <a:ea typeface="微软雅黑" panose="020B0503020204020204" charset="-122"/>
                  <a:cs typeface="微软雅黑" panose="020B0503020204020204" charset="-122"/>
                </a:rPr>
                <a:t>Legend</a:t>
              </a:r>
              <a:endParaRPr lang="x-none" sz="1000" baseline="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33"/>
            </p:custDataLst>
          </p:nvPr>
        </p:nvGrpSpPr>
        <p:grpSpPr>
          <a:xfrm>
            <a:off x="9434188" y="833372"/>
            <a:ext cx="211667" cy="211667"/>
            <a:chOff x="762000" y="1270000"/>
            <a:chExt cx="254000" cy="254000"/>
          </a:xfrm>
          <a:solidFill>
            <a:schemeClr val="accent2"/>
          </a:solidFill>
        </p:grpSpPr>
        <p:sp>
          <p:nvSpPr>
            <p:cNvPr id="130" name="Oval 129"/>
            <p:cNvSpPr/>
            <p:nvPr>
              <p:custDataLst>
                <p:tags r:id="rId3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1" name="Arc 130"/>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6"/>
            </p:custDataLst>
          </p:nvPr>
        </p:nvGrpSpPr>
        <p:grpSpPr>
          <a:xfrm>
            <a:off x="9701138" y="833372"/>
            <a:ext cx="211667" cy="211667"/>
            <a:chOff x="762000" y="1270000"/>
            <a:chExt cx="254000" cy="254000"/>
          </a:xfrm>
        </p:grpSpPr>
        <p:sp>
          <p:nvSpPr>
            <p:cNvPr id="133" name="Oval 132"/>
            <p:cNvSpPr/>
            <p:nvPr>
              <p:custDataLst>
                <p:tags r:id="rId3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4" name="Arc 133"/>
            <p:cNvSpPr/>
            <p:nvPr>
              <p:custDataLst>
                <p:tags r:id="rId38"/>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9"/>
            </p:custDataLst>
          </p:nvPr>
        </p:nvGrpSpPr>
        <p:grpSpPr>
          <a:xfrm>
            <a:off x="9968090" y="833372"/>
            <a:ext cx="211667" cy="211667"/>
            <a:chOff x="762000" y="1270000"/>
            <a:chExt cx="254000" cy="254000"/>
          </a:xfrm>
        </p:grpSpPr>
        <p:sp>
          <p:nvSpPr>
            <p:cNvPr id="136" name="Oval 135"/>
            <p:cNvSpPr/>
            <p:nvPr>
              <p:custDataLst>
                <p:tags r:id="rId4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37" name="Arc 136"/>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42"/>
            </p:custDataLst>
          </p:nvPr>
        </p:nvGrpSpPr>
        <p:grpSpPr>
          <a:xfrm>
            <a:off x="10235041" y="833372"/>
            <a:ext cx="211667" cy="211667"/>
            <a:chOff x="762000" y="1270000"/>
            <a:chExt cx="254000" cy="254000"/>
          </a:xfrm>
        </p:grpSpPr>
        <p:sp>
          <p:nvSpPr>
            <p:cNvPr id="139" name="Oval 138"/>
            <p:cNvSpPr/>
            <p:nvPr>
              <p:custDataLst>
                <p:tags r:id="rId4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0" name="Arc 139"/>
            <p:cNvSpPr/>
            <p:nvPr>
              <p:custDataLst>
                <p:tags r:id="rId44"/>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5"/>
            </p:custDataLst>
          </p:nvPr>
        </p:nvGrpSpPr>
        <p:grpSpPr>
          <a:xfrm>
            <a:off x="10501993" y="833372"/>
            <a:ext cx="211667" cy="211667"/>
            <a:chOff x="762000" y="1270000"/>
            <a:chExt cx="254000" cy="254000"/>
          </a:xfrm>
          <a:solidFill>
            <a:schemeClr val="accent2"/>
          </a:solidFill>
        </p:grpSpPr>
        <p:sp>
          <p:nvSpPr>
            <p:cNvPr id="142" name="Oval 141"/>
            <p:cNvSpPr/>
            <p:nvPr>
              <p:custDataLst>
                <p:tags r:id="rId4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a:solidFill>
                  <a:schemeClr val="bg1"/>
                </a:solidFill>
                <a:ea typeface="微软雅黑" panose="020B0503020204020204" charset="-122"/>
                <a:cs typeface="微软雅黑" panose="020B0503020204020204" charset="-122"/>
              </a:endParaRPr>
            </a:p>
          </p:txBody>
        </p:sp>
        <p:sp>
          <p:nvSpPr>
            <p:cNvPr id="143" name="Arc 142"/>
            <p:cNvSpPr/>
            <p:nvPr>
              <p:custDataLst>
                <p:tags r:id="rId4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4"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hf hdr="0" ftr="0" dt="0"/>
  <p:txStyles>
    <p:titleStyle>
      <a:lvl1pPr algn="l" defTabSz="895350" rtl="0" eaLnBrk="1" fontAlgn="base" hangingPunct="1">
        <a:spcBef>
          <a:spcPct val="0"/>
        </a:spcBef>
        <a:spcAft>
          <a:spcPct val="0"/>
        </a:spcAft>
        <a:tabLst>
          <a:tab pos="269240"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8" cy="161974"/>
        </p:xfrm>
        <a:graphic>
          <a:graphicData uri="http://schemas.openxmlformats.org/presentationml/2006/ole">
            <mc:AlternateContent xmlns:mc="http://schemas.openxmlformats.org/markup-compatibility/2006">
              <mc:Choice xmlns:v="urn:schemas-microsoft-com:vml" Requires="v">
                <p:oleObj spid="_x0000_s3" name="think-cell 幻灯片" r:id="rId9" imgW="12700" imgH="12700" progId="TCLayout.ActiveDocument.1">
                  <p:embed/>
                </p:oleObj>
              </mc:Choice>
              <mc:Fallback>
                <p:oleObj name="think-cell 幻灯片" r:id="rId9" imgW="12700" imgH="12700" progId="TCLayout.ActiveDocument.1">
                  <p:embed/>
                  <p:pic>
                    <p:nvPicPr>
                      <p:cNvPr id="0" name="Object 1" hidden="1"/>
                      <p:cNvPicPr/>
                      <p:nvPr/>
                    </p:nvPicPr>
                    <p:blipFill>
                      <a:blip r:embed="rId10"/>
                      <a:stretch>
                        <a:fillRect/>
                      </a:stretch>
                    </p:blipFill>
                    <p:spPr>
                      <a:xfrm>
                        <a:off x="0" y="0"/>
                        <a:ext cx="215978" cy="161974"/>
                      </a:xfrm>
                      <a:prstGeom prst="rect">
                        <a:avLst/>
                      </a:prstGeom>
                    </p:spPr>
                  </p:pic>
                </p:oleObj>
              </mc:Fallback>
            </mc:AlternateContent>
          </a:graphicData>
        </a:graphic>
      </p:graphicFrame>
      <p:pic>
        <p:nvPicPr>
          <p:cNvPr id="4" name="Picture 3"/>
          <p:cNvPicPr>
            <a:picLocks noChangeAspect="1"/>
          </p:cNvPicPr>
          <p:nvPr/>
        </p:nvPicPr>
        <p:blipFill rotWithShape="1">
          <a:blip r:embed="rId11"/>
          <a:srcRect b="24180"/>
          <a:stretch>
            <a:fillRect/>
          </a:stretch>
        </p:blipFill>
        <p:spPr bwMode="auto">
          <a:xfrm>
            <a:off x="0" y="5379485"/>
            <a:ext cx="10502900" cy="1478068"/>
          </a:xfrm>
          <a:prstGeom prst="rect">
            <a:avLst/>
          </a:prstGeom>
        </p:spPr>
      </p:pic>
      <p:pic>
        <p:nvPicPr>
          <p:cNvPr id="149" name="Picture 14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ltGray">
          <a:xfrm>
            <a:off x="9856058" y="6007349"/>
            <a:ext cx="1880564" cy="622211"/>
          </a:xfrm>
          <a:prstGeom prst="rect">
            <a:avLst/>
          </a:prstGeom>
        </p:spPr>
      </p:pic>
      <p:sp>
        <p:nvSpPr>
          <p:cNvPr id="19" name="Title Placeholder 2"/>
          <p:cNvSpPr>
            <a:spLocks noGrp="1" noChangeArrowheads="1"/>
          </p:cNvSpPr>
          <p:nvPr>
            <p:ph type="title"/>
          </p:nvPr>
        </p:nvSpPr>
        <p:spPr bwMode="gray">
          <a:xfrm>
            <a:off x="470788" y="360857"/>
            <a:ext cx="82656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p:ph type="body" idx="1"/>
          </p:nvPr>
        </p:nvSpPr>
        <p:spPr bwMode="gray">
          <a:xfrm>
            <a:off x="470788" y="1056694"/>
            <a:ext cx="11250425" cy="1228725"/>
          </a:xfrm>
          <a:prstGeom prst="rect">
            <a:avLst/>
          </a:prstGeom>
        </p:spPr>
        <p:txBody>
          <a:bodyPr vert="horz" wrap="square" lIns="0" tIns="0" rIns="0" bIns="0" rtlCol="0">
            <a:spAutoFit/>
          </a:bodyPr>
          <a:lstStyle/>
          <a:p>
            <a:pPr lvl="0" latinLnBrk="0"/>
            <a:r>
              <a:rPr lang="en-US" altLang="zh-CN" dirty="0"/>
              <a:t>Click to edit Master text styles</a:t>
            </a:r>
            <a:endParaRPr lang="en-US" altLang="zh-CN" dirty="0"/>
          </a:p>
          <a:p>
            <a:pPr lvl="1" latinLnBrk="0"/>
            <a:r>
              <a:rPr lang="en-US" altLang="zh-CN" dirty="0"/>
              <a:t>Second level</a:t>
            </a:r>
            <a:endParaRPr lang="en-US" altLang="zh-CN" dirty="0"/>
          </a:p>
          <a:p>
            <a:pPr lvl="2" latinLnBrk="0"/>
            <a:r>
              <a:rPr lang="en-US" altLang="zh-CN" dirty="0"/>
              <a:t>Third level</a:t>
            </a:r>
            <a:endParaRPr lang="en-US" altLang="zh-CN" dirty="0"/>
          </a:p>
          <a:p>
            <a:pPr lvl="3" latinLnBrk="0"/>
            <a:r>
              <a:rPr lang="en-US" altLang="zh-CN" dirty="0"/>
              <a:t>Fourth level</a:t>
            </a:r>
            <a:endParaRPr lang="en-US" altLang="zh-CN" dirty="0"/>
          </a:p>
          <a:p>
            <a:pPr lvl="4" latinLnBrk="0"/>
            <a:r>
              <a:rPr lang="en-US" altLang="zh-CN" dirty="0"/>
              <a:t>Fifth level</a:t>
            </a:r>
            <a:endParaRPr lang="en-US" dirty="0"/>
          </a:p>
        </p:txBody>
      </p:sp>
      <p:grpSp>
        <p:nvGrpSpPr>
          <p:cNvPr id="15" name="ACET" hidden="1"/>
          <p:cNvGrpSpPr/>
          <p:nvPr/>
        </p:nvGrpSpPr>
        <p:grpSpPr bwMode="gray">
          <a:xfrm>
            <a:off x="455716" y="2032793"/>
            <a:ext cx="5254845" cy="476204"/>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5239" anchor="b">
              <a:spAutoFit/>
            </a:bodyPr>
            <a:lstStyle/>
            <a:p>
              <a:r>
                <a:rPr lang="x-none" sz="1500" b="1" baseline="0" dirty="0">
                  <a:solidFill>
                    <a:srgbClr val="000000"/>
                  </a:solidFill>
                  <a:latin typeface="+mn-lt"/>
                  <a:ea typeface="微软雅黑" panose="020B0503020204020204" charset="-122"/>
                  <a:cs typeface="微软雅黑" panose="020B0503020204020204" charset="-122"/>
                </a:rPr>
                <a:t>Title</a:t>
              </a:r>
              <a:endParaRPr lang="x-none" sz="1500" b="1" baseline="0" dirty="0">
                <a:solidFill>
                  <a:srgbClr val="000000"/>
                </a:solidFill>
                <a:latin typeface="+mn-lt"/>
                <a:ea typeface="微软雅黑" panose="020B0503020204020204" charset="-122"/>
                <a:cs typeface="微软雅黑" panose="020B0503020204020204" charset="-122"/>
              </a:endParaRPr>
            </a:p>
            <a:p>
              <a:r>
                <a:rPr lang="x-none" sz="1500" baseline="0" dirty="0">
                  <a:solidFill>
                    <a:srgbClr val="808080"/>
                  </a:solidFill>
                  <a:latin typeface="+mn-lt"/>
                  <a:ea typeface="微软雅黑" panose="020B0503020204020204" charset="-122"/>
                  <a:cs typeface="微软雅黑" panose="020B0503020204020204" charset="-122"/>
                </a:rPr>
                <a:t>Unit of measure</a:t>
              </a:r>
              <a:endParaRPr lang="x-none" sz="1500" baseline="0" dirty="0">
                <a:solidFill>
                  <a:srgbClr val="808080"/>
                </a:solidFill>
                <a:latin typeface="+mn-lt"/>
                <a:ea typeface="微软雅黑" panose="020B0503020204020204" charset="-122"/>
                <a:cs typeface="微软雅黑" panose="020B0503020204020204" charset="-122"/>
              </a:endParaRPr>
            </a:p>
          </p:txBody>
        </p:sp>
      </p:grpSp>
      <p:sp>
        <p:nvSpPr>
          <p:cNvPr id="66" name="4. Footnote" hidden="1"/>
          <p:cNvSpPr txBox="1">
            <a:spLocks noChangeArrowheads="1"/>
          </p:cNvSpPr>
          <p:nvPr/>
        </p:nvSpPr>
        <p:spPr bwMode="gray">
          <a:xfrm>
            <a:off x="470788" y="6095174"/>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000" i="1" baseline="0" dirty="0">
                <a:solidFill>
                  <a:schemeClr val="tx1"/>
                </a:solidFill>
                <a:ea typeface="微软雅黑" panose="020B0503020204020204" charset="-122"/>
                <a:cs typeface="微软雅黑" panose="020B0503020204020204" charset="-122"/>
              </a:rPr>
              <a:t>1	Footnote</a:t>
            </a:r>
            <a:endParaRPr lang="en-US" sz="1000" i="1" baseline="0" dirty="0">
              <a:solidFill>
                <a:schemeClr val="tx1"/>
              </a:solidFill>
              <a:ea typeface="微软雅黑" panose="020B0503020204020204" charset="-122"/>
              <a:cs typeface="微软雅黑" panose="020B0503020204020204" charset="-122"/>
            </a:endParaRPr>
          </a:p>
        </p:txBody>
      </p:sp>
      <p:sp>
        <p:nvSpPr>
          <p:cNvPr id="67" name="5. Source" hidden="1"/>
          <p:cNvSpPr>
            <a:spLocks noChangeArrowheads="1"/>
          </p:cNvSpPr>
          <p:nvPr/>
        </p:nvSpPr>
        <p:spPr bwMode="gray">
          <a:xfrm>
            <a:off x="470788" y="6272960"/>
            <a:ext cx="8921957" cy="15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000" i="1" baseline="0" dirty="0">
                <a:solidFill>
                  <a:schemeClr val="tx1"/>
                </a:solidFill>
                <a:latin typeface="+mn-lt"/>
                <a:ea typeface="微软雅黑" panose="020B0503020204020204" charset="-122"/>
                <a:cs typeface="微软雅黑" panose="020B0503020204020204" charset="-122"/>
              </a:rPr>
              <a:t>SOURCE: Source</a:t>
            </a:r>
            <a:endParaRPr lang="en-US" sz="1000" i="1" baseline="0" dirty="0">
              <a:solidFill>
                <a:schemeClr val="tx1"/>
              </a:solidFill>
              <a:latin typeface="+mn-lt"/>
              <a:ea typeface="微软雅黑" panose="020B0503020204020204" charset="-122"/>
              <a:cs typeface="微软雅黑" panose="020B0503020204020204" charset="-122"/>
            </a:endParaRPr>
          </a:p>
        </p:txBody>
      </p:sp>
      <p:sp>
        <p:nvSpPr>
          <p:cNvPr id="68" name="1. On-page tracker" hidden="1"/>
          <p:cNvSpPr>
            <a:spLocks noChangeArrowheads="1"/>
          </p:cNvSpPr>
          <p:nvPr/>
        </p:nvSpPr>
        <p:spPr bwMode="gray">
          <a:xfrm>
            <a:off x="470788" y="7827"/>
            <a:ext cx="369570" cy="122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chemeClr val="accent6"/>
                </a:solidFill>
                <a:latin typeface="+mn-lt"/>
                <a:ea typeface="微软雅黑" panose="020B0503020204020204" charset="-122"/>
                <a:cs typeface="微软雅黑" panose="020B0503020204020204" charset="-122"/>
              </a:rPr>
              <a:t>TRACKER</a:t>
            </a:r>
            <a:endParaRPr lang="en-US" sz="800" cap="all" dirty="0">
              <a:solidFill>
                <a:schemeClr val="accent6"/>
              </a:solidFill>
              <a:latin typeface="+mn-lt"/>
              <a:ea typeface="微软雅黑" panose="020B0503020204020204" charset="-122"/>
              <a:cs typeface="微软雅黑" panose="020B0503020204020204" charset="-122"/>
            </a:endParaRPr>
          </a:p>
        </p:txBody>
      </p:sp>
      <p:sp>
        <p:nvSpPr>
          <p:cNvPr id="69" name="3. Unit of measure" hidden="1"/>
          <p:cNvSpPr txBox="1">
            <a:spLocks noChangeArrowheads="1"/>
          </p:cNvSpPr>
          <p:nvPr/>
        </p:nvSpPr>
        <p:spPr bwMode="gray">
          <a:xfrm>
            <a:off x="470788" y="717386"/>
            <a:ext cx="11250426"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500" baseline="0" dirty="0">
                <a:ea typeface="微软雅黑" panose="020B0503020204020204" charset="-122"/>
                <a:cs typeface="微软雅黑" panose="020B0503020204020204" charset="-122"/>
              </a:rPr>
              <a:t>Subtitle</a:t>
            </a:r>
            <a:endParaRPr lang="en-US" sz="1500" baseline="0" dirty="0">
              <a:ea typeface="微软雅黑" panose="020B0503020204020204" charset="-122"/>
              <a:cs typeface="微软雅黑" panose="020B0503020204020204" charset="-122"/>
            </a:endParaRPr>
          </a:p>
        </p:txBody>
      </p:sp>
      <p:grpSp>
        <p:nvGrpSpPr>
          <p:cNvPr id="87" name="Sticker" hidden="1"/>
          <p:cNvGrpSpPr/>
          <p:nvPr/>
        </p:nvGrpSpPr>
        <p:grpSpPr bwMode="gray">
          <a:xfrm>
            <a:off x="11422764" y="759745"/>
            <a:ext cx="298569" cy="124460"/>
            <a:chOff x="8389786" y="285750"/>
            <a:chExt cx="351130" cy="146379"/>
          </a:xfrm>
        </p:grpSpPr>
        <p:sp>
          <p:nvSpPr>
            <p:cNvPr id="88" name="StickerRectangle"/>
            <p:cNvSpPr>
              <a:spLocks noChangeArrowheads="1"/>
            </p:cNvSpPr>
            <p:nvPr/>
          </p:nvSpPr>
          <p:spPr bwMode="gray">
            <a:xfrm>
              <a:off x="8389786" y="285750"/>
              <a:ext cx="350989" cy="14637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859" tIns="0" rIns="0" bIns="22859">
              <a:spAutoFit/>
            </a:bodyPr>
            <a:lstStyle/>
            <a:p>
              <a:pPr algn="r" defTabSz="895350">
                <a:buClr>
                  <a:srgbClr val="002960"/>
                </a:buClr>
              </a:pPr>
              <a:r>
                <a:rPr lang="x-none" sz="665" baseline="0" dirty="0">
                  <a:solidFill>
                    <a:schemeClr val="accent6"/>
                  </a:solidFill>
                  <a:latin typeface="+mn-lt"/>
                  <a:ea typeface="微软雅黑" panose="020B0503020204020204" charset="-122"/>
                  <a:cs typeface="微软雅黑" panose="020B0503020204020204" charset="-122"/>
                </a:rPr>
                <a:t>STICKER</a:t>
              </a:r>
              <a:endParaRPr lang="x-none" sz="665" baseline="0" dirty="0">
                <a:solidFill>
                  <a:schemeClr val="accent6"/>
                </a:solidFill>
                <a:latin typeface="+mn-lt"/>
                <a:ea typeface="微软雅黑" panose="020B0503020204020204" charset="-122"/>
                <a:cs typeface="微软雅黑" panose="020B0503020204020204" charset="-122"/>
              </a:endParaRPr>
            </a:p>
          </p:txBody>
        </p:sp>
        <p:cxnSp>
          <p:nvCxnSpPr>
            <p:cNvPr id="89" name="AutoShape 31"/>
            <p:cNvCxnSpPr>
              <a:cxnSpLocks noChangeShapeType="1"/>
              <a:stCxn id="88" idx="2"/>
              <a:endCxn id="88" idx="4"/>
            </p:cNvCxnSpPr>
            <p:nvPr/>
          </p:nvCxnSpPr>
          <p:spPr bwMode="gray">
            <a:xfrm>
              <a:off x="8389926" y="285750"/>
              <a:ext cx="0" cy="146379"/>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9926" y="432065"/>
              <a:ext cx="350990"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p:nvGrpSpPr>
        <p:grpSpPr bwMode="gray">
          <a:xfrm>
            <a:off x="11133498" y="759745"/>
            <a:ext cx="586819" cy="844761"/>
            <a:chOff x="7835905" y="279400"/>
            <a:chExt cx="690124" cy="993534"/>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96" name="Legend1"/>
            <p:cNvSpPr>
              <a:spLocks noChangeArrowheads="1"/>
            </p:cNvSpPr>
            <p:nvPr/>
          </p:nvSpPr>
          <p:spPr bwMode="gray">
            <a:xfrm>
              <a:off x="8089905" y="279400"/>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7" name="Legend2"/>
            <p:cNvSpPr>
              <a:spLocks noChangeArrowheads="1"/>
            </p:cNvSpPr>
            <p:nvPr/>
          </p:nvSpPr>
          <p:spPr bwMode="gray">
            <a:xfrm>
              <a:off x="8089905" y="549275"/>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8" name="Legend3"/>
            <p:cNvSpPr>
              <a:spLocks noChangeArrowheads="1"/>
            </p:cNvSpPr>
            <p:nvPr/>
          </p:nvSpPr>
          <p:spPr bwMode="gray">
            <a:xfrm>
              <a:off x="8089905" y="820738"/>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99" name="Legend4"/>
            <p:cNvSpPr>
              <a:spLocks noChangeArrowheads="1"/>
            </p:cNvSpPr>
            <p:nvPr/>
          </p:nvSpPr>
          <p:spPr bwMode="gray">
            <a:xfrm>
              <a:off x="8089905" y="1092201"/>
              <a:ext cx="436124"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0" name="LegendLines" hidden="1"/>
          <p:cNvGrpSpPr/>
          <p:nvPr/>
        </p:nvGrpSpPr>
        <p:grpSpPr bwMode="gray">
          <a:xfrm>
            <a:off x="10871623" y="759745"/>
            <a:ext cx="848693" cy="617998"/>
            <a:chOff x="7540629" y="279400"/>
            <a:chExt cx="998098" cy="726834"/>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00" baseline="0" dirty="0">
                <a:latin typeface="+mn-lt"/>
                <a:ea typeface="微软雅黑" panose="020B0503020204020204" charset="-122"/>
                <a:cs typeface="微软雅黑" panose="020B0503020204020204" charset="-122"/>
              </a:endParaRPr>
            </a:p>
          </p:txBody>
        </p:sp>
        <p:sp>
          <p:nvSpPr>
            <p:cNvPr id="104" name="Legend1"/>
            <p:cNvSpPr>
              <a:spLocks noChangeArrowheads="1"/>
            </p:cNvSpPr>
            <p:nvPr/>
          </p:nvSpPr>
          <p:spPr bwMode="gray">
            <a:xfrm>
              <a:off x="8102604" y="2794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5" name="Legend2"/>
            <p:cNvSpPr>
              <a:spLocks noChangeArrowheads="1"/>
            </p:cNvSpPr>
            <p:nvPr/>
          </p:nvSpPr>
          <p:spPr bwMode="gray">
            <a:xfrm>
              <a:off x="8102604" y="546100"/>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06" name="Legend3"/>
            <p:cNvSpPr>
              <a:spLocks noChangeArrowheads="1"/>
            </p:cNvSpPr>
            <p:nvPr/>
          </p:nvSpPr>
          <p:spPr bwMode="gray">
            <a:xfrm>
              <a:off x="8102604" y="825501"/>
              <a:ext cx="436123" cy="18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08" name="LegendMoons" hidden="1"/>
          <p:cNvGrpSpPr/>
          <p:nvPr/>
        </p:nvGrpSpPr>
        <p:grpSpPr bwMode="gray">
          <a:xfrm>
            <a:off x="11076803" y="759745"/>
            <a:ext cx="643513" cy="1110878"/>
            <a:chOff x="7769225" y="250825"/>
            <a:chExt cx="756798" cy="1306516"/>
          </a:xfrm>
        </p:grpSpPr>
        <p:grpSp>
          <p:nvGrpSpPr>
            <p:cNvPr id="109" name="MoonLegend1"/>
            <p:cNvGrpSpPr>
              <a:grpSpLocks noChangeAspect="1"/>
            </p:cNvGrpSpPr>
            <p:nvPr>
              <p:custDataLst>
                <p:tags r:id="rId13"/>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14"/>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8" name="Arc 39"/>
              <p:cNvSpPr>
                <a:spLocks noChangeAspect="1"/>
              </p:cNvSpPr>
              <p:nvPr>
                <p:custDataLst>
                  <p:tags r:id="rId15"/>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0" name="MoonLegend2"/>
            <p:cNvGrpSpPr>
              <a:grpSpLocks noChangeAspect="1"/>
            </p:cNvGrpSpPr>
            <p:nvPr>
              <p:custDataLst>
                <p:tags r:id="rId1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6" name="Arc 42"/>
              <p:cNvSpPr>
                <a:spLocks noChangeAspect="1"/>
              </p:cNvSpPr>
              <p:nvPr>
                <p:custDataLst>
                  <p:tags r:id="rId1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1" name="MoonLegend4"/>
            <p:cNvGrpSpPr>
              <a:grpSpLocks noChangeAspect="1"/>
            </p:cNvGrpSpPr>
            <p:nvPr>
              <p:custDataLst>
                <p:tags r:id="rId1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4"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2" name="MoonLegend5"/>
            <p:cNvGrpSpPr>
              <a:grpSpLocks noChangeAspect="1"/>
            </p:cNvGrpSpPr>
            <p:nvPr>
              <p:custDataLst>
                <p:tags r:id="rId2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2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2" name="Oval 51"/>
              <p:cNvSpPr>
                <a:spLocks noChangeAspect="1" noChangeArrowheads="1"/>
              </p:cNvSpPr>
              <p:nvPr>
                <p:custDataLst>
                  <p:tags r:id="rId2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grpSp>
          <p:nvGrpSpPr>
            <p:cNvPr id="113" name="MoonLegend3"/>
            <p:cNvGrpSpPr>
              <a:grpSpLocks noChangeAspect="1"/>
            </p:cNvGrpSpPr>
            <p:nvPr>
              <p:custDataLst>
                <p:tags r:id="rId25"/>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sp>
            <p:nvSpPr>
              <p:cNvPr id="120"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00" baseline="0" dirty="0">
                  <a:latin typeface="+mn-lt"/>
                  <a:ea typeface="微软雅黑" panose="020B0503020204020204" charset="-122"/>
                  <a:cs typeface="微软雅黑" panose="020B0503020204020204" charset="-122"/>
                </a:endParaRPr>
              </a:p>
            </p:txBody>
          </p:sp>
        </p:grpSp>
        <p:sp>
          <p:nvSpPr>
            <p:cNvPr id="114" name="Legend1"/>
            <p:cNvSpPr>
              <a:spLocks noChangeArrowheads="1"/>
            </p:cNvSpPr>
            <p:nvPr/>
          </p:nvSpPr>
          <p:spPr bwMode="gray">
            <a:xfrm>
              <a:off x="8089900" y="26352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5" name="Legend2"/>
            <p:cNvSpPr>
              <a:spLocks noChangeArrowheads="1"/>
            </p:cNvSpPr>
            <p:nvPr/>
          </p:nvSpPr>
          <p:spPr bwMode="gray">
            <a:xfrm>
              <a:off x="8089900" y="538163"/>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6" name="Legend3"/>
            <p:cNvSpPr>
              <a:spLocks noChangeArrowheads="1"/>
            </p:cNvSpPr>
            <p:nvPr/>
          </p:nvSpPr>
          <p:spPr bwMode="gray">
            <a:xfrm>
              <a:off x="8089900" y="812802"/>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7" name="Legend4"/>
            <p:cNvSpPr>
              <a:spLocks noChangeArrowheads="1"/>
            </p:cNvSpPr>
            <p:nvPr/>
          </p:nvSpPr>
          <p:spPr bwMode="gray">
            <a:xfrm>
              <a:off x="8089900" y="1084265"/>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sp>
          <p:nvSpPr>
            <p:cNvPr id="118" name="Legend5"/>
            <p:cNvSpPr>
              <a:spLocks noChangeArrowheads="1"/>
            </p:cNvSpPr>
            <p:nvPr/>
          </p:nvSpPr>
          <p:spPr bwMode="gray">
            <a:xfrm>
              <a:off x="8089900" y="1360490"/>
              <a:ext cx="436123" cy="1807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000" baseline="0" dirty="0">
                  <a:latin typeface="+mn-lt"/>
                  <a:ea typeface="微软雅黑" panose="020B0503020204020204" charset="-122"/>
                  <a:cs typeface="微软雅黑" panose="020B0503020204020204" charset="-122"/>
                </a:rPr>
                <a:t>Legend</a:t>
              </a:r>
              <a:endParaRPr lang="x-none" sz="1000" baseline="0" dirty="0">
                <a:latin typeface="+mn-lt"/>
                <a:ea typeface="微软雅黑" panose="020B0503020204020204" charset="-122"/>
                <a:cs typeface="微软雅黑" panose="020B0503020204020204" charset="-122"/>
              </a:endParaRPr>
            </a:p>
          </p:txBody>
        </p:sp>
      </p:grpSp>
      <p:grpSp>
        <p:nvGrpSpPr>
          <p:cNvPr id="129" name="EmptyMoon" hidden="1"/>
          <p:cNvGrpSpPr>
            <a:grpSpLocks noChangeAspect="1"/>
          </p:cNvGrpSpPr>
          <p:nvPr>
            <p:custDataLst>
              <p:tags r:id="rId28"/>
            </p:custDataLst>
          </p:nvPr>
        </p:nvGrpSpPr>
        <p:grpSpPr>
          <a:xfrm>
            <a:off x="9434188" y="833371"/>
            <a:ext cx="211667" cy="211667"/>
            <a:chOff x="762000" y="1270000"/>
            <a:chExt cx="254000" cy="254000"/>
          </a:xfrm>
          <a:solidFill>
            <a:schemeClr val="accent2"/>
          </a:solidFill>
        </p:grpSpPr>
        <p:sp>
          <p:nvSpPr>
            <p:cNvPr id="130" name="Oval 129"/>
            <p:cNvSpPr/>
            <p:nvPr>
              <p:custDataLst>
                <p:tags r:id="rId2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1" name="Arc 130"/>
            <p:cNvSpPr/>
            <p:nvPr>
              <p:custDataLst>
                <p:tags r:id="rId3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2" name="QuaterMoon" hidden="1"/>
          <p:cNvGrpSpPr>
            <a:grpSpLocks noChangeAspect="1"/>
          </p:cNvGrpSpPr>
          <p:nvPr>
            <p:custDataLst>
              <p:tags r:id="rId31"/>
            </p:custDataLst>
          </p:nvPr>
        </p:nvGrpSpPr>
        <p:grpSpPr>
          <a:xfrm>
            <a:off x="9701138" y="833371"/>
            <a:ext cx="211667" cy="211667"/>
            <a:chOff x="762000" y="1270000"/>
            <a:chExt cx="254000" cy="254000"/>
          </a:xfrm>
        </p:grpSpPr>
        <p:sp>
          <p:nvSpPr>
            <p:cNvPr id="133" name="Oval 132"/>
            <p:cNvSpPr/>
            <p:nvPr>
              <p:custDataLst>
                <p:tags r:id="rId3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4" name="Arc 133"/>
            <p:cNvSpPr/>
            <p:nvPr>
              <p:custDataLst>
                <p:tags r:id="rId3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5" name="HalfMoon" hidden="1"/>
          <p:cNvGrpSpPr>
            <a:grpSpLocks noChangeAspect="1"/>
          </p:cNvGrpSpPr>
          <p:nvPr>
            <p:custDataLst>
              <p:tags r:id="rId34"/>
            </p:custDataLst>
          </p:nvPr>
        </p:nvGrpSpPr>
        <p:grpSpPr>
          <a:xfrm>
            <a:off x="9968089" y="833371"/>
            <a:ext cx="211667" cy="211667"/>
            <a:chOff x="762000" y="1270000"/>
            <a:chExt cx="254000" cy="254000"/>
          </a:xfrm>
        </p:grpSpPr>
        <p:sp>
          <p:nvSpPr>
            <p:cNvPr id="136" name="Oval 135"/>
            <p:cNvSpPr/>
            <p:nvPr>
              <p:custDataLst>
                <p:tags r:id="rId3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37" name="Arc 136"/>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38" name="3QuaterMoon" hidden="1"/>
          <p:cNvGrpSpPr>
            <a:grpSpLocks noChangeAspect="1"/>
          </p:cNvGrpSpPr>
          <p:nvPr>
            <p:custDataLst>
              <p:tags r:id="rId37"/>
            </p:custDataLst>
          </p:nvPr>
        </p:nvGrpSpPr>
        <p:grpSpPr>
          <a:xfrm>
            <a:off x="10235040" y="833371"/>
            <a:ext cx="211667" cy="211667"/>
            <a:chOff x="762000" y="1270000"/>
            <a:chExt cx="254000" cy="254000"/>
          </a:xfrm>
        </p:grpSpPr>
        <p:sp>
          <p:nvSpPr>
            <p:cNvPr id="139" name="Oval 138"/>
            <p:cNvSpPr/>
            <p:nvPr>
              <p:custDataLst>
                <p:tags r:id="rId3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0" name="Arc 139"/>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grpSp>
        <p:nvGrpSpPr>
          <p:cNvPr id="141" name="FullMoon" hidden="1"/>
          <p:cNvGrpSpPr>
            <a:grpSpLocks noChangeAspect="1"/>
          </p:cNvGrpSpPr>
          <p:nvPr>
            <p:custDataLst>
              <p:tags r:id="rId40"/>
            </p:custDataLst>
          </p:nvPr>
        </p:nvGrpSpPr>
        <p:grpSpPr>
          <a:xfrm>
            <a:off x="10501992" y="833371"/>
            <a:ext cx="211667" cy="211667"/>
            <a:chOff x="762000" y="1270000"/>
            <a:chExt cx="254000" cy="254000"/>
          </a:xfrm>
          <a:solidFill>
            <a:schemeClr val="accent2"/>
          </a:solidFill>
        </p:grpSpPr>
        <p:sp>
          <p:nvSpPr>
            <p:cNvPr id="142" name="Oval 141"/>
            <p:cNvSpPr/>
            <p:nvPr>
              <p:custDataLst>
                <p:tags r:id="rId41"/>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9" tIns="38099" rIns="76199" bIns="38099" numCol="1" spcCol="0" rtlCol="0" fromWordArt="0" anchor="ctr" anchorCtr="0" forceAA="0" compatLnSpc="1">
              <a:noAutofit/>
            </a:bodyPr>
            <a:lstStyle/>
            <a:p>
              <a:pPr algn="ctr"/>
              <a:endParaRPr lang="en-US" sz="1335" dirty="0">
                <a:solidFill>
                  <a:schemeClr val="bg1"/>
                </a:solidFill>
                <a:ea typeface="微软雅黑" panose="020B0503020204020204" charset="-122"/>
                <a:cs typeface="微软雅黑" panose="020B0503020204020204" charset="-122"/>
              </a:endParaRPr>
            </a:p>
          </p:txBody>
        </p:sp>
        <p:sp>
          <p:nvSpPr>
            <p:cNvPr id="143" name="Arc 142"/>
            <p:cNvSpPr/>
            <p:nvPr>
              <p:custDataLst>
                <p:tags r:id="rId42"/>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dirty="0">
                <a:ea typeface="微软雅黑" panose="020B0503020204020204" charset="-122"/>
                <a:cs typeface="微软雅黑" panose="020B0503020204020204" charset="-122"/>
              </a:endParaRPr>
            </a:p>
          </p:txBody>
        </p:sp>
      </p:grpSp>
      <p:cxnSp>
        <p:nvCxnSpPr>
          <p:cNvPr id="145" name="Straight Connector 144"/>
          <p:cNvCxnSpPr/>
          <p:nvPr/>
        </p:nvCxnSpPr>
        <p:spPr bwMode="ltGray">
          <a:xfrm>
            <a:off x="470788" y="684515"/>
            <a:ext cx="11250426"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p:nvSpPr>
        <p:spPr>
          <a:xfrm>
            <a:off x="11832000" y="6527094"/>
            <a:ext cx="222000" cy="126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000" baseline="0" smtClean="0">
                <a:solidFill>
                  <a:schemeClr val="tx1"/>
                </a:solidFill>
                <a:ea typeface="微软雅黑" panose="020B0503020204020204" charset="-122"/>
                <a:cs typeface="微软雅黑" panose="020B0503020204020204" charset="-122"/>
              </a:rPr>
            </a:fld>
            <a:endParaRPr lang="en-GB" sz="1000" baseline="0" dirty="0">
              <a:solidFill>
                <a:schemeClr val="tx1"/>
              </a:solidFill>
              <a:ea typeface="微软雅黑" panose="020B0503020204020204" charset="-122"/>
              <a:cs typeface="微软雅黑" panose="020B0503020204020204" charset="-122"/>
            </a:endParaRPr>
          </a:p>
        </p:txBody>
      </p:sp>
      <p:sp>
        <p:nvSpPr>
          <p:cNvPr id="6" name="GS Doctop Placeholder" hidden="1"/>
          <p:cNvSpPr txBox="1"/>
          <p:nvPr/>
        </p:nvSpPr>
        <p:spPr>
          <a:xfrm>
            <a:off x="455083" y="0"/>
            <a:ext cx="4709583" cy="193675"/>
          </a:xfrm>
          <a:prstGeom prst="rect">
            <a:avLst/>
          </a:prstGeom>
          <a:noFill/>
        </p:spPr>
        <p:txBody>
          <a:bodyPr vert="horz" rtlCol="0">
            <a:spAutoFit/>
          </a:bodyPr>
          <a:lstStyle/>
          <a:p>
            <a:pPr algn="l"/>
            <a:r>
              <a:rPr lang="en-US" sz="665" b="0" dirty="0" err="1">
                <a:ea typeface="微软雅黑" panose="020B0503020204020204" charset="-122"/>
                <a:cs typeface="微软雅黑" panose="020B0503020204020204" charset="-122"/>
              </a:rPr>
              <a:t>ibdroot</a:t>
            </a:r>
            <a:r>
              <a:rPr lang="en-US" sz="665" b="0" dirty="0">
                <a:ea typeface="微软雅黑" panose="020B0503020204020204" charset="-122"/>
                <a:cs typeface="微软雅黑" panose="020B0503020204020204" charset="-122"/>
              </a:rPr>
              <a:t>\projects\IBD-HK</a:t>
            </a:r>
            <a:r>
              <a:rPr lang="en-US" sz="665" b="0">
                <a:ea typeface="微软雅黑" panose="020B0503020204020204" charset="-122"/>
                <a:cs typeface="微软雅黑" panose="020B0503020204020204" charset="-122"/>
              </a:rPr>
              <a:t>\maxims2020\654567_1\16. </a:t>
            </a:r>
            <a:r>
              <a:rPr lang="en-US" sz="665" b="0" dirty="0">
                <a:ea typeface="微软雅黑" panose="020B0503020204020204" charset="-122"/>
                <a:cs typeface="微软雅黑" panose="020B0503020204020204" charset="-122"/>
              </a:rPr>
              <a:t>Marketing\RS\Project Skyline_RS_V20200923_</a:t>
            </a:r>
            <a:r>
              <a:rPr lang="en-US" sz="665" b="0">
                <a:ea typeface="微软雅黑" panose="020B0503020204020204" charset="-122"/>
                <a:cs typeface="微软雅黑" panose="020B0503020204020204" charset="-122"/>
              </a:rPr>
              <a:t>part 1.pptx</a:t>
            </a:r>
            <a:endParaRPr lang="en-US" sz="665" b="0" dirty="0">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hf hdr="0" ftr="0" dt="0"/>
  <p:txStyles>
    <p:titleStyle>
      <a:lvl1pPr algn="l" defTabSz="895350" rtl="0" eaLnBrk="1" fontAlgn="base" hangingPunct="1">
        <a:spcBef>
          <a:spcPct val="0"/>
        </a:spcBef>
        <a:spcAft>
          <a:spcPct val="0"/>
        </a:spcAft>
        <a:tabLst>
          <a:tab pos="269875" algn="l"/>
        </a:tabLst>
        <a:defRPr lang="x-none" sz="2000" b="1" cap="all" baseline="0" noProof="0" dirty="0">
          <a:solidFill>
            <a:schemeClr val="tx2"/>
          </a:solidFill>
          <a:latin typeface="+mj-lt"/>
          <a:ea typeface="微软雅黑" panose="020B0503020204020204" charset="-122"/>
          <a:cs typeface="微软雅黑" panose="020B0503020204020204" charset="-122"/>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895350" rtl="0" eaLnBrk="1" fontAlgn="base" hangingPunct="1">
        <a:lnSpc>
          <a:spcPct val="120000"/>
        </a:lnSpc>
        <a:spcBef>
          <a:spcPct val="0"/>
        </a:spcBef>
        <a:spcAft>
          <a:spcPct val="0"/>
        </a:spcAft>
        <a:buClr>
          <a:schemeClr val="tx2"/>
        </a:buClr>
        <a:buSzPct val="100000"/>
        <a:defRPr lang="en-US" altLang="zh-CN" sz="1335" b="1" kern="0" baseline="0" dirty="0" smtClean="0">
          <a:solidFill>
            <a:schemeClr val="tx1"/>
          </a:solidFill>
          <a:latin typeface="+mn-lt"/>
          <a:ea typeface="微软雅黑" panose="020B0503020204020204" charset="-122"/>
          <a:cs typeface="Arial" panose="020B0604020202020204" pitchFamily="34" charset="0"/>
        </a:defRPr>
      </a:lvl1pPr>
      <a:lvl2pPr marL="193675" indent="-191770" algn="l" defTabSz="89535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2pPr>
      <a:lvl3pPr marL="457200" indent="-261620"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3pPr>
      <a:lvl4pPr marL="614680" indent="-155575" algn="l" defTabSz="89535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335" b="0" kern="0" baseline="0" dirty="0" smtClean="0">
          <a:solidFill>
            <a:schemeClr val="tx1"/>
          </a:solidFill>
          <a:latin typeface="+mn-lt"/>
          <a:ea typeface="微软雅黑" panose="020B0503020204020204" charset="-122"/>
          <a:cs typeface="Arial" panose="020B0604020202020204" pitchFamily="34" charset="0"/>
        </a:defRPr>
      </a:lvl4pPr>
      <a:lvl5pPr marL="749935" indent="-130175" algn="l" defTabSz="89535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335" b="0" kern="0" baseline="0" dirty="0">
          <a:solidFill>
            <a:schemeClr val="tx1"/>
          </a:solidFill>
          <a:latin typeface="+mn-lt"/>
          <a:ea typeface="微软雅黑" panose="020B0503020204020204" charset="-122"/>
          <a:cs typeface="Arial" panose="020B0604020202020204" pitchFamily="34" charset="0"/>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619.xml"/><Relationship Id="rId1" Type="http://schemas.openxmlformats.org/officeDocument/2006/relationships/tags" Target="../tags/tag618.xml"/></Relationships>
</file>

<file path=ppt/slides/_rels/slide2.xml.rels><?xml version="1.0" encoding="UTF-8" standalone="yes"?>
<Relationships xmlns="http://schemas.openxmlformats.org/package/2006/relationships"><Relationship Id="rId9" Type="http://schemas.openxmlformats.org/officeDocument/2006/relationships/tags" Target="../tags/tag628.xml"/><Relationship Id="rId8" Type="http://schemas.openxmlformats.org/officeDocument/2006/relationships/tags" Target="../tags/tag627.xml"/><Relationship Id="rId7" Type="http://schemas.openxmlformats.org/officeDocument/2006/relationships/tags" Target="../tags/tag626.xml"/><Relationship Id="rId6" Type="http://schemas.openxmlformats.org/officeDocument/2006/relationships/tags" Target="../tags/tag625.xml"/><Relationship Id="rId5" Type="http://schemas.openxmlformats.org/officeDocument/2006/relationships/tags" Target="../tags/tag624.xml"/><Relationship Id="rId4" Type="http://schemas.openxmlformats.org/officeDocument/2006/relationships/tags" Target="../tags/tag623.xml"/><Relationship Id="rId36" Type="http://schemas.openxmlformats.org/officeDocument/2006/relationships/notesSlide" Target="../notesSlides/notesSlide2.xml"/><Relationship Id="rId35" Type="http://schemas.openxmlformats.org/officeDocument/2006/relationships/slideLayout" Target="../slideLayouts/slideLayout2.xml"/><Relationship Id="rId34" Type="http://schemas.openxmlformats.org/officeDocument/2006/relationships/tags" Target="../tags/tag643.xml"/><Relationship Id="rId33" Type="http://schemas.openxmlformats.org/officeDocument/2006/relationships/tags" Target="../tags/tag642.xml"/><Relationship Id="rId32" Type="http://schemas.openxmlformats.org/officeDocument/2006/relationships/image" Target="../media/image26.svg"/><Relationship Id="rId31" Type="http://schemas.openxmlformats.org/officeDocument/2006/relationships/image" Target="../media/image25.png"/><Relationship Id="rId30" Type="http://schemas.openxmlformats.org/officeDocument/2006/relationships/tags" Target="../tags/tag641.xml"/><Relationship Id="rId3" Type="http://schemas.openxmlformats.org/officeDocument/2006/relationships/tags" Target="../tags/tag622.xml"/><Relationship Id="rId29" Type="http://schemas.openxmlformats.org/officeDocument/2006/relationships/image" Target="../media/image24.svg"/><Relationship Id="rId28" Type="http://schemas.openxmlformats.org/officeDocument/2006/relationships/image" Target="../media/image23.png"/><Relationship Id="rId27" Type="http://schemas.openxmlformats.org/officeDocument/2006/relationships/tags" Target="../tags/tag640.xml"/><Relationship Id="rId26" Type="http://schemas.openxmlformats.org/officeDocument/2006/relationships/image" Target="../media/image22.svg"/><Relationship Id="rId25" Type="http://schemas.openxmlformats.org/officeDocument/2006/relationships/image" Target="../media/image21.png"/><Relationship Id="rId24" Type="http://schemas.openxmlformats.org/officeDocument/2006/relationships/tags" Target="../tags/tag639.xml"/><Relationship Id="rId23" Type="http://schemas.openxmlformats.org/officeDocument/2006/relationships/image" Target="../media/image20.svg"/><Relationship Id="rId22" Type="http://schemas.openxmlformats.org/officeDocument/2006/relationships/image" Target="../media/image19.png"/><Relationship Id="rId21" Type="http://schemas.openxmlformats.org/officeDocument/2006/relationships/tags" Target="../tags/tag638.xml"/><Relationship Id="rId20" Type="http://schemas.openxmlformats.org/officeDocument/2006/relationships/image" Target="../media/image18.svg"/><Relationship Id="rId2" Type="http://schemas.openxmlformats.org/officeDocument/2006/relationships/tags" Target="../tags/tag621.xml"/><Relationship Id="rId19" Type="http://schemas.openxmlformats.org/officeDocument/2006/relationships/image" Target="../media/image17.png"/><Relationship Id="rId18" Type="http://schemas.openxmlformats.org/officeDocument/2006/relationships/tags" Target="../tags/tag637.xml"/><Relationship Id="rId17" Type="http://schemas.openxmlformats.org/officeDocument/2006/relationships/tags" Target="../tags/tag636.xml"/><Relationship Id="rId16" Type="http://schemas.openxmlformats.org/officeDocument/2006/relationships/tags" Target="../tags/tag635.xml"/><Relationship Id="rId15" Type="http://schemas.openxmlformats.org/officeDocument/2006/relationships/tags" Target="../tags/tag634.xml"/><Relationship Id="rId14" Type="http://schemas.openxmlformats.org/officeDocument/2006/relationships/tags" Target="../tags/tag633.xml"/><Relationship Id="rId13" Type="http://schemas.openxmlformats.org/officeDocument/2006/relationships/tags" Target="../tags/tag632.xml"/><Relationship Id="rId12" Type="http://schemas.openxmlformats.org/officeDocument/2006/relationships/tags" Target="../tags/tag631.xml"/><Relationship Id="rId11" Type="http://schemas.openxmlformats.org/officeDocument/2006/relationships/tags" Target="../tags/tag630.xml"/><Relationship Id="rId10" Type="http://schemas.openxmlformats.org/officeDocument/2006/relationships/tags" Target="../tags/tag629.xml"/><Relationship Id="rId1" Type="http://schemas.openxmlformats.org/officeDocument/2006/relationships/tags" Target="../tags/tag620.xml"/></Relationships>
</file>

<file path=ppt/slides/_rels/slide3.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slideLayout" Target="../slideLayouts/slideLayout2.xml"/><Relationship Id="rId5" Type="http://schemas.openxmlformats.org/officeDocument/2006/relationships/tags" Target="../tags/tag645.xml"/><Relationship Id="rId4" Type="http://schemas.openxmlformats.org/officeDocument/2006/relationships/tags" Target="../tags/tag64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9" Type="http://schemas.openxmlformats.org/officeDocument/2006/relationships/tags" Target="../tags/tag654.xml"/><Relationship Id="rId8" Type="http://schemas.openxmlformats.org/officeDocument/2006/relationships/tags" Target="../tags/tag653.xml"/><Relationship Id="rId7" Type="http://schemas.openxmlformats.org/officeDocument/2006/relationships/tags" Target="../tags/tag652.xml"/><Relationship Id="rId6" Type="http://schemas.openxmlformats.org/officeDocument/2006/relationships/tags" Target="../tags/tag651.xml"/><Relationship Id="rId5" Type="http://schemas.openxmlformats.org/officeDocument/2006/relationships/tags" Target="../tags/tag650.xml"/><Relationship Id="rId4" Type="http://schemas.openxmlformats.org/officeDocument/2006/relationships/tags" Target="../tags/tag649.xml"/><Relationship Id="rId3" Type="http://schemas.openxmlformats.org/officeDocument/2006/relationships/tags" Target="../tags/tag648.xml"/><Relationship Id="rId2" Type="http://schemas.openxmlformats.org/officeDocument/2006/relationships/tags" Target="../tags/tag647.xml"/><Relationship Id="rId16" Type="http://schemas.openxmlformats.org/officeDocument/2006/relationships/notesSlide" Target="../notesSlides/notesSlide4.xml"/><Relationship Id="rId15" Type="http://schemas.openxmlformats.org/officeDocument/2006/relationships/slideLayout" Target="../slideLayouts/slideLayout2.xml"/><Relationship Id="rId14" Type="http://schemas.openxmlformats.org/officeDocument/2006/relationships/tags" Target="../tags/tag659.xml"/><Relationship Id="rId13" Type="http://schemas.openxmlformats.org/officeDocument/2006/relationships/tags" Target="../tags/tag658.xml"/><Relationship Id="rId12" Type="http://schemas.openxmlformats.org/officeDocument/2006/relationships/tags" Target="../tags/tag657.xml"/><Relationship Id="rId11" Type="http://schemas.openxmlformats.org/officeDocument/2006/relationships/tags" Target="../tags/tag656.xml"/><Relationship Id="rId10" Type="http://schemas.openxmlformats.org/officeDocument/2006/relationships/tags" Target="../tags/tag655.xml"/><Relationship Id="rId1" Type="http://schemas.openxmlformats.org/officeDocument/2006/relationships/tags" Target="../tags/tag646.xml"/></Relationships>
</file>

<file path=ppt/slides/_rels/slide5.xml.rels><?xml version="1.0" encoding="UTF-8" standalone="yes"?>
<Relationships xmlns="http://schemas.openxmlformats.org/package/2006/relationships"><Relationship Id="rId9" Type="http://schemas.openxmlformats.org/officeDocument/2006/relationships/tags" Target="../tags/tag668.xml"/><Relationship Id="rId8" Type="http://schemas.openxmlformats.org/officeDocument/2006/relationships/tags" Target="../tags/tag667.xml"/><Relationship Id="rId7" Type="http://schemas.openxmlformats.org/officeDocument/2006/relationships/tags" Target="../tags/tag666.xml"/><Relationship Id="rId6" Type="http://schemas.openxmlformats.org/officeDocument/2006/relationships/tags" Target="../tags/tag665.xml"/><Relationship Id="rId5" Type="http://schemas.openxmlformats.org/officeDocument/2006/relationships/tags" Target="../tags/tag664.xml"/><Relationship Id="rId4" Type="http://schemas.openxmlformats.org/officeDocument/2006/relationships/tags" Target="../tags/tag663.xml"/><Relationship Id="rId3" Type="http://schemas.openxmlformats.org/officeDocument/2006/relationships/tags" Target="../tags/tag662.xml"/><Relationship Id="rId20" Type="http://schemas.openxmlformats.org/officeDocument/2006/relationships/notesSlide" Target="../notesSlides/notesSlide5.xml"/><Relationship Id="rId2" Type="http://schemas.openxmlformats.org/officeDocument/2006/relationships/tags" Target="../tags/tag661.xml"/><Relationship Id="rId19" Type="http://schemas.openxmlformats.org/officeDocument/2006/relationships/slideLayout" Target="../slideLayouts/slideLayout2.xml"/><Relationship Id="rId18" Type="http://schemas.openxmlformats.org/officeDocument/2006/relationships/tags" Target="../tags/tag677.xml"/><Relationship Id="rId17" Type="http://schemas.openxmlformats.org/officeDocument/2006/relationships/tags" Target="../tags/tag676.xml"/><Relationship Id="rId16" Type="http://schemas.openxmlformats.org/officeDocument/2006/relationships/tags" Target="../tags/tag675.xml"/><Relationship Id="rId15" Type="http://schemas.openxmlformats.org/officeDocument/2006/relationships/tags" Target="../tags/tag674.xml"/><Relationship Id="rId14" Type="http://schemas.openxmlformats.org/officeDocument/2006/relationships/tags" Target="../tags/tag673.xml"/><Relationship Id="rId13" Type="http://schemas.openxmlformats.org/officeDocument/2006/relationships/tags" Target="../tags/tag672.xml"/><Relationship Id="rId12" Type="http://schemas.openxmlformats.org/officeDocument/2006/relationships/tags" Target="../tags/tag671.xml"/><Relationship Id="rId11" Type="http://schemas.openxmlformats.org/officeDocument/2006/relationships/tags" Target="../tags/tag670.xml"/><Relationship Id="rId10" Type="http://schemas.openxmlformats.org/officeDocument/2006/relationships/tags" Target="../tags/tag669.xml"/><Relationship Id="rId1" Type="http://schemas.openxmlformats.org/officeDocument/2006/relationships/tags" Target="../tags/tag6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idx="3"/>
            <p:custDataLst>
              <p:tags r:id="rId1"/>
            </p:custDataLst>
          </p:nvPr>
        </p:nvSpPr>
        <p:spPr>
          <a:xfrm>
            <a:off x="2410460" y="2154555"/>
            <a:ext cx="7668895" cy="2009140"/>
          </a:xfrm>
        </p:spPr>
        <p:txBody>
          <a:bodyPr>
            <a:normAutofit fontScale="90000"/>
          </a:bodyPr>
          <a:p>
            <a:pPr marL="0" indent="0" algn="l">
              <a:lnSpc>
                <a:spcPct val="110000"/>
              </a:lnSpc>
              <a:spcBef>
                <a:spcPts val="0"/>
              </a:spcBef>
              <a:spcAft>
                <a:spcPts val="0"/>
              </a:spcAft>
              <a:buSzPct val="100000"/>
            </a:pPr>
            <a:r>
              <a:rPr lang="en-US" altLang="zh-CN" b="1">
                <a:latin typeface="微软雅黑" panose="020B0503020204020204" charset="-122"/>
                <a:ea typeface="微软雅黑" panose="020B0503020204020204" charset="-122"/>
                <a:cs typeface="微软雅黑" panose="020B0503020204020204" charset="-122"/>
              </a:rPr>
              <a:t>2025</a:t>
            </a:r>
            <a:r>
              <a:rPr lang="zh-CN" altLang="en-US" b="1">
                <a:latin typeface="微软雅黑" panose="020B0503020204020204" charset="-122"/>
                <a:ea typeface="微软雅黑" panose="020B0503020204020204" charset="-122"/>
                <a:cs typeface="微软雅黑" panose="020B0503020204020204" charset="-122"/>
              </a:rPr>
              <a:t>年度个人工作汇报</a:t>
            </a:r>
            <a:br>
              <a:rPr lang="zh-CN" altLang="en-US" b="1">
                <a:latin typeface="微软雅黑" panose="020B0503020204020204" charset="-122"/>
                <a:ea typeface="微软雅黑" panose="020B0503020204020204" charset="-122"/>
                <a:cs typeface="微软雅黑" panose="020B0503020204020204" charset="-122"/>
              </a:rPr>
            </a:br>
            <a:endParaRPr lang="zh-CN" altLang="en-US" b="1">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2410460" y="3901440"/>
            <a:ext cx="4722495" cy="398780"/>
          </a:xfrm>
          <a:prstGeom prst="rect">
            <a:avLst/>
          </a:prstGeom>
          <a:noFill/>
        </p:spPr>
        <p:txBody>
          <a:bodyPr wrap="square" rtlCol="0">
            <a:spAutoFit/>
          </a:bodyPr>
          <a:p>
            <a:r>
              <a:rPr lang="zh-CN" altLang="en-US" sz="2000" b="1"/>
              <a:t>汇报人：</a:t>
            </a:r>
            <a:r>
              <a:rPr lang="zh-CN" altLang="en-US" sz="2000" b="1">
                <a:sym typeface="+mn-ea"/>
              </a:rPr>
              <a:t>黄晰</a:t>
            </a:r>
            <a:endParaRPr lang="zh-CN" altLang="en-US" sz="2000" b="1">
              <a:sym typeface="+mn-ea"/>
            </a:endParaRPr>
          </a:p>
        </p:txBody>
      </p:sp>
    </p:spTree>
    <p:custDataLst>
      <p:tags r:id="rId2"/>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矩形 61"/>
          <p:cNvSpPr/>
          <p:nvPr>
            <p:custDataLst>
              <p:tags r:id="rId1"/>
            </p:custDataLst>
          </p:nvPr>
        </p:nvSpPr>
        <p:spPr>
          <a:xfrm>
            <a:off x="557530" y="2072640"/>
            <a:ext cx="3533775" cy="17310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150000"/>
              </a:lnSpc>
              <a:buClrTx/>
              <a:buSzTx/>
              <a:buFontTx/>
            </a:pPr>
            <a:r>
              <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rPr>
              <a:t>杭州远大：</a:t>
            </a:r>
            <a:endPar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支持项目运维工作，负责问题答疑、配置调整、报表导出、需求反馈</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支持远大基层医疗事业线、远大医学营养子公司上线</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工作。</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70" name="矩形 69"/>
          <p:cNvSpPr/>
          <p:nvPr>
            <p:custDataLst>
              <p:tags r:id="rId2"/>
            </p:custDataLst>
          </p:nvPr>
        </p:nvSpPr>
        <p:spPr>
          <a:xfrm>
            <a:off x="557331" y="1568341"/>
            <a:ext cx="1270301" cy="43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pPr algn="l"/>
            <a:r>
              <a:rPr lang="en-US" altLang="zh-CN" sz="2000" b="1" kern="0" dirty="0">
                <a:solidFill>
                  <a:schemeClr val="accent1"/>
                </a:solidFill>
                <a:cs typeface="+mn-lt"/>
              </a:rPr>
              <a:t>01</a:t>
            </a:r>
            <a:endParaRPr lang="en-US" altLang="zh-CN" sz="2000" b="1" kern="0" dirty="0">
              <a:solidFill>
                <a:schemeClr val="accent1"/>
              </a:solidFill>
              <a:cs typeface="+mn-lt"/>
            </a:endParaRPr>
          </a:p>
        </p:txBody>
      </p:sp>
      <p:sp>
        <p:nvSpPr>
          <p:cNvPr id="63" name="矩形 62"/>
          <p:cNvSpPr/>
          <p:nvPr>
            <p:custDataLst>
              <p:tags r:id="rId3"/>
            </p:custDataLst>
          </p:nvPr>
        </p:nvSpPr>
        <p:spPr>
          <a:xfrm>
            <a:off x="583565" y="4559300"/>
            <a:ext cx="3335020" cy="13004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150000"/>
              </a:lnSpc>
              <a:buClrTx/>
              <a:buSzTx/>
              <a:buFontTx/>
            </a:pPr>
            <a:r>
              <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rPr>
              <a:t>诺华：</a:t>
            </a:r>
            <a:endPar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负责项目需求工作，</a:t>
            </a:r>
            <a:r>
              <a:rPr lang="zh-CN" altLang="en-US"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日常</a:t>
            </a:r>
            <a:r>
              <a:rPr lang="en-US" altLang="zh-CN"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CR</a:t>
            </a:r>
            <a:r>
              <a:rPr lang="zh-CN" altLang="en-US"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评估、报价、方案落地、开发跟进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项目付款进度跟进，日常跟踪</a:t>
            </a:r>
            <a:r>
              <a:rPr lang="en-US" altLang="zh-CN"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CR</a:t>
            </a:r>
            <a:r>
              <a:rPr lang="zh-CN" altLang="en-US" sz="14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项目付款、季度清洗费用结算、年度运维费用结算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a:lnSpc>
                <a:spcPct val="150000"/>
              </a:lnSpc>
            </a:pP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71" name="矩形 70"/>
          <p:cNvSpPr/>
          <p:nvPr>
            <p:custDataLst>
              <p:tags r:id="rId4"/>
            </p:custDataLst>
          </p:nvPr>
        </p:nvSpPr>
        <p:spPr>
          <a:xfrm>
            <a:off x="557331" y="4205391"/>
            <a:ext cx="1270301" cy="43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pPr algn="l"/>
            <a:r>
              <a:rPr lang="en-US" altLang="zh-CN" sz="2000" b="1" kern="0" dirty="0">
                <a:solidFill>
                  <a:schemeClr val="accent1"/>
                </a:solidFill>
                <a:cs typeface="+mn-lt"/>
              </a:rPr>
              <a:t>04</a:t>
            </a:r>
            <a:endParaRPr lang="en-US" altLang="zh-CN" sz="2000" b="1" kern="0" dirty="0">
              <a:solidFill>
                <a:schemeClr val="accent1"/>
              </a:solidFill>
              <a:cs typeface="+mn-lt"/>
            </a:endParaRPr>
          </a:p>
        </p:txBody>
      </p:sp>
      <p:sp>
        <p:nvSpPr>
          <p:cNvPr id="60" name="矩形 59"/>
          <p:cNvSpPr/>
          <p:nvPr>
            <p:custDataLst>
              <p:tags r:id="rId5"/>
            </p:custDataLst>
          </p:nvPr>
        </p:nvSpPr>
        <p:spPr>
          <a:xfrm>
            <a:off x="8478520" y="1999615"/>
            <a:ext cx="3493135" cy="255968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50000"/>
              </a:lnSpc>
            </a:pPr>
            <a:r>
              <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rPr>
              <a:t>森世海亚：</a:t>
            </a:r>
            <a:endPar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支持项目运维工作，负责问题答疑、系统配置、报表导出</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负责项目需求工作，日常</a:t>
            </a: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CR</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评估、报价、方案落地、开发跟进</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3</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负责项目付款进度跟进，日常跟踪</a:t>
            </a: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CR</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项目付款、季度清洗费用结算、年度运维费用结算</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等。</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72" name="矩形 71"/>
          <p:cNvSpPr/>
          <p:nvPr>
            <p:custDataLst>
              <p:tags r:id="rId6"/>
            </p:custDataLst>
          </p:nvPr>
        </p:nvSpPr>
        <p:spPr>
          <a:xfrm>
            <a:off x="8478730" y="1462296"/>
            <a:ext cx="1270301" cy="43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r>
              <a:rPr lang="en-US" altLang="zh-CN" sz="2000" b="1" kern="0" dirty="0">
                <a:solidFill>
                  <a:schemeClr val="accent1"/>
                </a:solidFill>
                <a:cs typeface="+mn-lt"/>
              </a:rPr>
              <a:t>02</a:t>
            </a:r>
            <a:endParaRPr lang="en-US" altLang="zh-CN" sz="2000" b="1" kern="0" dirty="0">
              <a:solidFill>
                <a:schemeClr val="accent1"/>
              </a:solidFill>
              <a:cs typeface="+mn-lt"/>
            </a:endParaRPr>
          </a:p>
        </p:txBody>
      </p:sp>
      <p:sp>
        <p:nvSpPr>
          <p:cNvPr id="61" name="矩形 60"/>
          <p:cNvSpPr/>
          <p:nvPr>
            <p:custDataLst>
              <p:tags r:id="rId7"/>
            </p:custDataLst>
          </p:nvPr>
        </p:nvSpPr>
        <p:spPr>
          <a:xfrm>
            <a:off x="8478520" y="4936490"/>
            <a:ext cx="3429635" cy="13004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150000"/>
              </a:lnSpc>
              <a:buClrTx/>
              <a:buSzTx/>
              <a:buFontTx/>
            </a:pPr>
            <a:r>
              <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rPr>
              <a:t>泰诺麦博：</a:t>
            </a:r>
            <a:endParaRPr lang="zh-CN" altLang="en-US" sz="1600" b="1" kern="0" spc="0" dirty="0">
              <a:ln>
                <a:noFill/>
                <a:prstDash val="sysDot"/>
              </a:ln>
              <a:gradFill>
                <a:gsLst>
                  <a:gs pos="50000">
                    <a:schemeClr val="accent2"/>
                  </a:gs>
                  <a:gs pos="0">
                    <a:schemeClr val="accent2">
                      <a:lumMod val="25000"/>
                      <a:lumOff val="75000"/>
                    </a:schemeClr>
                  </a:gs>
                  <a:gs pos="100000">
                    <a:schemeClr val="accent2">
                      <a:lumMod val="85000"/>
                    </a:schemeClr>
                  </a:gs>
                </a:gsLst>
                <a:lin ang="5400000" scaled="1"/>
              </a:gra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参与项目实施调研</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工作；</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负责项目接口</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对接；</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3</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参与项目</a:t>
            </a:r>
            <a:r>
              <a:rPr lang="en-US" altLang="zh-CN"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UAT</a:t>
            </a:r>
            <a:r>
              <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endParaRPr lang="zh-CN" altLang="en-US" sz="1400" kern="0" spc="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73" name="矩形 72"/>
          <p:cNvSpPr/>
          <p:nvPr>
            <p:custDataLst>
              <p:tags r:id="rId8"/>
            </p:custDataLst>
          </p:nvPr>
        </p:nvSpPr>
        <p:spPr>
          <a:xfrm>
            <a:off x="8479365" y="4559086"/>
            <a:ext cx="1270301" cy="43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rmAutofit/>
          </a:bodyPr>
          <a:lstStyle/>
          <a:p>
            <a:r>
              <a:rPr lang="en-US" altLang="zh-CN" sz="2000" b="1" kern="0" dirty="0">
                <a:solidFill>
                  <a:schemeClr val="accent1"/>
                </a:solidFill>
                <a:cs typeface="+mn-lt"/>
              </a:rPr>
              <a:t>03</a:t>
            </a:r>
            <a:endParaRPr lang="en-US" altLang="zh-CN" sz="2000" b="1" kern="0" dirty="0">
              <a:solidFill>
                <a:schemeClr val="accent1"/>
              </a:solidFill>
              <a:cs typeface="+mn-lt"/>
            </a:endParaRPr>
          </a:p>
        </p:txBody>
      </p:sp>
      <p:sp>
        <p:nvSpPr>
          <p:cNvPr id="79" name="任意多边形: 形状 78"/>
          <p:cNvSpPr/>
          <p:nvPr>
            <p:custDataLst>
              <p:tags r:id="rId9"/>
            </p:custDataLst>
          </p:nvPr>
        </p:nvSpPr>
        <p:spPr>
          <a:xfrm>
            <a:off x="4231865" y="1893800"/>
            <a:ext cx="2457886" cy="2311781"/>
          </a:xfrm>
          <a:custGeom>
            <a:avLst/>
            <a:gdLst>
              <a:gd name="connsiteX0" fmla="*/ 173571 w 2643290"/>
              <a:gd name="connsiteY0" fmla="*/ 0 h 2486164"/>
              <a:gd name="connsiteX1" fmla="*/ 867831 w 2643290"/>
              <a:gd name="connsiteY1" fmla="*/ 0 h 2486164"/>
              <a:gd name="connsiteX2" fmla="*/ 1041401 w 2643290"/>
              <a:gd name="connsiteY2" fmla="*/ 173570 h 2486164"/>
              <a:gd name="connsiteX3" fmla="*/ 1041401 w 2643290"/>
              <a:gd name="connsiteY3" fmla="*/ 1718730 h 2486164"/>
              <a:gd name="connsiteX4" fmla="*/ 1041200 w 2643290"/>
              <a:gd name="connsiteY4" fmla="*/ 1719728 h 2486164"/>
              <a:gd name="connsiteX5" fmla="*/ 1043260 w 2643290"/>
              <a:gd name="connsiteY5" fmla="*/ 1719728 h 2486164"/>
              <a:gd name="connsiteX6" fmla="*/ 1043260 w 2643290"/>
              <a:gd name="connsiteY6" fmla="*/ 1719729 h 2486164"/>
              <a:gd name="connsiteX7" fmla="*/ 2642450 w 2643290"/>
              <a:gd name="connsiteY7" fmla="*/ 1719730 h 2486164"/>
              <a:gd name="connsiteX8" fmla="*/ 2643290 w 2643290"/>
              <a:gd name="connsiteY8" fmla="*/ 1728064 h 2486164"/>
              <a:gd name="connsiteX9" fmla="*/ 2641424 w 2643290"/>
              <a:gd name="connsiteY9" fmla="*/ 1765019 h 2486164"/>
              <a:gd name="connsiteX10" fmla="*/ 1924425 w 2643290"/>
              <a:gd name="connsiteY10" fmla="*/ 2482018 h 2486164"/>
              <a:gd name="connsiteX11" fmla="*/ 1842316 w 2643290"/>
              <a:gd name="connsiteY11" fmla="*/ 2486164 h 2486164"/>
              <a:gd name="connsiteX12" fmla="*/ 1842274 w 2643290"/>
              <a:gd name="connsiteY12" fmla="*/ 2486164 h 2486164"/>
              <a:gd name="connsiteX13" fmla="*/ 1795099 w 2643290"/>
              <a:gd name="connsiteY13" fmla="*/ 2483782 h 2486164"/>
              <a:gd name="connsiteX14" fmla="*/ 843745 w 2643290"/>
              <a:gd name="connsiteY14" fmla="*/ 2483781 h 2486164"/>
              <a:gd name="connsiteX15" fmla="*/ 796590 w 2643290"/>
              <a:gd name="connsiteY15" fmla="*/ 2486162 h 2486164"/>
              <a:gd name="connsiteX16" fmla="*/ 796513 w 2643290"/>
              <a:gd name="connsiteY16" fmla="*/ 2486162 h 2486164"/>
              <a:gd name="connsiteX17" fmla="*/ 714421 w 2643290"/>
              <a:gd name="connsiteY17" fmla="*/ 2482017 h 2486164"/>
              <a:gd name="connsiteX18" fmla="*/ 9595 w 2643290"/>
              <a:gd name="connsiteY18" fmla="*/ 1844776 h 2486164"/>
              <a:gd name="connsiteX19" fmla="*/ 9273 w 2643290"/>
              <a:gd name="connsiteY19" fmla="*/ 1842667 h 2486164"/>
              <a:gd name="connsiteX20" fmla="*/ 0 w 2643290"/>
              <a:gd name="connsiteY20" fmla="*/ 1750685 h 2486164"/>
              <a:gd name="connsiteX21" fmla="*/ 2149 w 2643290"/>
              <a:gd name="connsiteY21" fmla="*/ 1729369 h 2486164"/>
              <a:gd name="connsiteX22" fmla="*/ 1 w 2643290"/>
              <a:gd name="connsiteY22" fmla="*/ 1718730 h 2486164"/>
              <a:gd name="connsiteX23" fmla="*/ 1 w 2643290"/>
              <a:gd name="connsiteY23" fmla="*/ 173570 h 2486164"/>
              <a:gd name="connsiteX24" fmla="*/ 173571 w 2643290"/>
              <a:gd name="connsiteY24" fmla="*/ 0 h 248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43290" h="2486164">
                <a:moveTo>
                  <a:pt x="173571" y="0"/>
                </a:moveTo>
                <a:lnTo>
                  <a:pt x="867831" y="0"/>
                </a:lnTo>
                <a:cubicBezTo>
                  <a:pt x="963691" y="0"/>
                  <a:pt x="1041401" y="77710"/>
                  <a:pt x="1041401" y="173570"/>
                </a:cubicBezTo>
                <a:lnTo>
                  <a:pt x="1041401" y="1718730"/>
                </a:lnTo>
                <a:lnTo>
                  <a:pt x="1041200" y="1719728"/>
                </a:lnTo>
                <a:lnTo>
                  <a:pt x="1043260" y="1719728"/>
                </a:lnTo>
                <a:lnTo>
                  <a:pt x="1043260" y="1719729"/>
                </a:lnTo>
                <a:lnTo>
                  <a:pt x="2642450" y="1719730"/>
                </a:lnTo>
                <a:lnTo>
                  <a:pt x="2643290" y="1728064"/>
                </a:lnTo>
                <a:lnTo>
                  <a:pt x="2641424" y="1765019"/>
                </a:lnTo>
                <a:cubicBezTo>
                  <a:pt x="2603031" y="2143072"/>
                  <a:pt x="2302479" y="2443624"/>
                  <a:pt x="1924425" y="2482018"/>
                </a:cubicBezTo>
                <a:lnTo>
                  <a:pt x="1842316" y="2486164"/>
                </a:lnTo>
                <a:lnTo>
                  <a:pt x="1842274" y="2486164"/>
                </a:lnTo>
                <a:lnTo>
                  <a:pt x="1795099" y="2483782"/>
                </a:lnTo>
                <a:lnTo>
                  <a:pt x="843745" y="2483781"/>
                </a:lnTo>
                <a:lnTo>
                  <a:pt x="796590" y="2486162"/>
                </a:lnTo>
                <a:lnTo>
                  <a:pt x="796513" y="2486162"/>
                </a:lnTo>
                <a:lnTo>
                  <a:pt x="714421" y="2482017"/>
                </a:lnTo>
                <a:cubicBezTo>
                  <a:pt x="363372" y="2446366"/>
                  <a:pt x="79147" y="2184670"/>
                  <a:pt x="9595" y="1844776"/>
                </a:cubicBezTo>
                <a:lnTo>
                  <a:pt x="9273" y="1842667"/>
                </a:lnTo>
                <a:lnTo>
                  <a:pt x="0" y="1750685"/>
                </a:lnTo>
                <a:lnTo>
                  <a:pt x="2149" y="1729369"/>
                </a:lnTo>
                <a:lnTo>
                  <a:pt x="1" y="1718730"/>
                </a:lnTo>
                <a:lnTo>
                  <a:pt x="1" y="173570"/>
                </a:lnTo>
                <a:cubicBezTo>
                  <a:pt x="1" y="77710"/>
                  <a:pt x="77711" y="0"/>
                  <a:pt x="17357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80" name="任意多边形: 形状 79"/>
          <p:cNvSpPr/>
          <p:nvPr>
            <p:custDataLst>
              <p:tags r:id="rId10"/>
            </p:custDataLst>
          </p:nvPr>
        </p:nvSpPr>
        <p:spPr>
          <a:xfrm rot="16200000">
            <a:off x="4235556" y="2858541"/>
            <a:ext cx="2457886" cy="2311781"/>
          </a:xfrm>
          <a:custGeom>
            <a:avLst/>
            <a:gdLst>
              <a:gd name="connsiteX0" fmla="*/ 173571 w 2643290"/>
              <a:gd name="connsiteY0" fmla="*/ 0 h 2486164"/>
              <a:gd name="connsiteX1" fmla="*/ 867831 w 2643290"/>
              <a:gd name="connsiteY1" fmla="*/ 0 h 2486164"/>
              <a:gd name="connsiteX2" fmla="*/ 1041401 w 2643290"/>
              <a:gd name="connsiteY2" fmla="*/ 173570 h 2486164"/>
              <a:gd name="connsiteX3" fmla="*/ 1041401 w 2643290"/>
              <a:gd name="connsiteY3" fmla="*/ 1718730 h 2486164"/>
              <a:gd name="connsiteX4" fmla="*/ 1041200 w 2643290"/>
              <a:gd name="connsiteY4" fmla="*/ 1719728 h 2486164"/>
              <a:gd name="connsiteX5" fmla="*/ 1043260 w 2643290"/>
              <a:gd name="connsiteY5" fmla="*/ 1719728 h 2486164"/>
              <a:gd name="connsiteX6" fmla="*/ 1043260 w 2643290"/>
              <a:gd name="connsiteY6" fmla="*/ 1719729 h 2486164"/>
              <a:gd name="connsiteX7" fmla="*/ 2642450 w 2643290"/>
              <a:gd name="connsiteY7" fmla="*/ 1719730 h 2486164"/>
              <a:gd name="connsiteX8" fmla="*/ 2643290 w 2643290"/>
              <a:gd name="connsiteY8" fmla="*/ 1728064 h 2486164"/>
              <a:gd name="connsiteX9" fmla="*/ 2641424 w 2643290"/>
              <a:gd name="connsiteY9" fmla="*/ 1765019 h 2486164"/>
              <a:gd name="connsiteX10" fmla="*/ 1924425 w 2643290"/>
              <a:gd name="connsiteY10" fmla="*/ 2482018 h 2486164"/>
              <a:gd name="connsiteX11" fmla="*/ 1842316 w 2643290"/>
              <a:gd name="connsiteY11" fmla="*/ 2486164 h 2486164"/>
              <a:gd name="connsiteX12" fmla="*/ 1842274 w 2643290"/>
              <a:gd name="connsiteY12" fmla="*/ 2486164 h 2486164"/>
              <a:gd name="connsiteX13" fmla="*/ 1795099 w 2643290"/>
              <a:gd name="connsiteY13" fmla="*/ 2483782 h 2486164"/>
              <a:gd name="connsiteX14" fmla="*/ 843745 w 2643290"/>
              <a:gd name="connsiteY14" fmla="*/ 2483781 h 2486164"/>
              <a:gd name="connsiteX15" fmla="*/ 796590 w 2643290"/>
              <a:gd name="connsiteY15" fmla="*/ 2486162 h 2486164"/>
              <a:gd name="connsiteX16" fmla="*/ 796513 w 2643290"/>
              <a:gd name="connsiteY16" fmla="*/ 2486162 h 2486164"/>
              <a:gd name="connsiteX17" fmla="*/ 714421 w 2643290"/>
              <a:gd name="connsiteY17" fmla="*/ 2482017 h 2486164"/>
              <a:gd name="connsiteX18" fmla="*/ 9595 w 2643290"/>
              <a:gd name="connsiteY18" fmla="*/ 1844776 h 2486164"/>
              <a:gd name="connsiteX19" fmla="*/ 9273 w 2643290"/>
              <a:gd name="connsiteY19" fmla="*/ 1842667 h 2486164"/>
              <a:gd name="connsiteX20" fmla="*/ 0 w 2643290"/>
              <a:gd name="connsiteY20" fmla="*/ 1750685 h 2486164"/>
              <a:gd name="connsiteX21" fmla="*/ 2149 w 2643290"/>
              <a:gd name="connsiteY21" fmla="*/ 1729369 h 2486164"/>
              <a:gd name="connsiteX22" fmla="*/ 1 w 2643290"/>
              <a:gd name="connsiteY22" fmla="*/ 1718730 h 2486164"/>
              <a:gd name="connsiteX23" fmla="*/ 1 w 2643290"/>
              <a:gd name="connsiteY23" fmla="*/ 173570 h 2486164"/>
              <a:gd name="connsiteX24" fmla="*/ 173571 w 2643290"/>
              <a:gd name="connsiteY24" fmla="*/ 0 h 248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43290" h="2486164">
                <a:moveTo>
                  <a:pt x="173571" y="0"/>
                </a:moveTo>
                <a:lnTo>
                  <a:pt x="867831" y="0"/>
                </a:lnTo>
                <a:cubicBezTo>
                  <a:pt x="963691" y="0"/>
                  <a:pt x="1041401" y="77710"/>
                  <a:pt x="1041401" y="173570"/>
                </a:cubicBezTo>
                <a:lnTo>
                  <a:pt x="1041401" y="1718730"/>
                </a:lnTo>
                <a:lnTo>
                  <a:pt x="1041200" y="1719728"/>
                </a:lnTo>
                <a:lnTo>
                  <a:pt x="1043260" y="1719728"/>
                </a:lnTo>
                <a:lnTo>
                  <a:pt x="1043260" y="1719729"/>
                </a:lnTo>
                <a:lnTo>
                  <a:pt x="2642450" y="1719730"/>
                </a:lnTo>
                <a:lnTo>
                  <a:pt x="2643290" y="1728064"/>
                </a:lnTo>
                <a:lnTo>
                  <a:pt x="2641424" y="1765019"/>
                </a:lnTo>
                <a:cubicBezTo>
                  <a:pt x="2603031" y="2143072"/>
                  <a:pt x="2302479" y="2443624"/>
                  <a:pt x="1924425" y="2482018"/>
                </a:cubicBezTo>
                <a:lnTo>
                  <a:pt x="1842316" y="2486164"/>
                </a:lnTo>
                <a:lnTo>
                  <a:pt x="1842274" y="2486164"/>
                </a:lnTo>
                <a:lnTo>
                  <a:pt x="1795099" y="2483782"/>
                </a:lnTo>
                <a:lnTo>
                  <a:pt x="843745" y="2483781"/>
                </a:lnTo>
                <a:lnTo>
                  <a:pt x="796590" y="2486162"/>
                </a:lnTo>
                <a:lnTo>
                  <a:pt x="796513" y="2486162"/>
                </a:lnTo>
                <a:lnTo>
                  <a:pt x="714421" y="2482017"/>
                </a:lnTo>
                <a:cubicBezTo>
                  <a:pt x="363372" y="2446366"/>
                  <a:pt x="79147" y="2184670"/>
                  <a:pt x="9595" y="1844776"/>
                </a:cubicBezTo>
                <a:lnTo>
                  <a:pt x="9273" y="1842667"/>
                </a:lnTo>
                <a:lnTo>
                  <a:pt x="0" y="1750685"/>
                </a:lnTo>
                <a:lnTo>
                  <a:pt x="2149" y="1729369"/>
                </a:lnTo>
                <a:lnTo>
                  <a:pt x="1" y="1718730"/>
                </a:lnTo>
                <a:lnTo>
                  <a:pt x="1" y="173570"/>
                </a:lnTo>
                <a:cubicBezTo>
                  <a:pt x="1" y="77710"/>
                  <a:pt x="77711" y="0"/>
                  <a:pt x="173571" y="0"/>
                </a:cubicBezTo>
                <a:close/>
              </a:path>
            </a:pathLst>
          </a:custGeom>
          <a:solidFill>
            <a:schemeClr val="accent1">
              <a:lumMod val="55000"/>
              <a:lumOff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1" name="任意多边形: 形状 80"/>
          <p:cNvSpPr/>
          <p:nvPr>
            <p:custDataLst>
              <p:tags r:id="rId11"/>
            </p:custDataLst>
          </p:nvPr>
        </p:nvSpPr>
        <p:spPr>
          <a:xfrm rot="10800000">
            <a:off x="5202528" y="2857821"/>
            <a:ext cx="2457886" cy="2311781"/>
          </a:xfrm>
          <a:custGeom>
            <a:avLst/>
            <a:gdLst>
              <a:gd name="connsiteX0" fmla="*/ 173571 w 2643290"/>
              <a:gd name="connsiteY0" fmla="*/ 0 h 2486164"/>
              <a:gd name="connsiteX1" fmla="*/ 867831 w 2643290"/>
              <a:gd name="connsiteY1" fmla="*/ 0 h 2486164"/>
              <a:gd name="connsiteX2" fmla="*/ 1041401 w 2643290"/>
              <a:gd name="connsiteY2" fmla="*/ 173570 h 2486164"/>
              <a:gd name="connsiteX3" fmla="*/ 1041401 w 2643290"/>
              <a:gd name="connsiteY3" fmla="*/ 1718730 h 2486164"/>
              <a:gd name="connsiteX4" fmla="*/ 1041200 w 2643290"/>
              <a:gd name="connsiteY4" fmla="*/ 1719728 h 2486164"/>
              <a:gd name="connsiteX5" fmla="*/ 1043260 w 2643290"/>
              <a:gd name="connsiteY5" fmla="*/ 1719728 h 2486164"/>
              <a:gd name="connsiteX6" fmla="*/ 1043260 w 2643290"/>
              <a:gd name="connsiteY6" fmla="*/ 1719729 h 2486164"/>
              <a:gd name="connsiteX7" fmla="*/ 2642450 w 2643290"/>
              <a:gd name="connsiteY7" fmla="*/ 1719730 h 2486164"/>
              <a:gd name="connsiteX8" fmla="*/ 2643290 w 2643290"/>
              <a:gd name="connsiteY8" fmla="*/ 1728064 h 2486164"/>
              <a:gd name="connsiteX9" fmla="*/ 2641424 w 2643290"/>
              <a:gd name="connsiteY9" fmla="*/ 1765019 h 2486164"/>
              <a:gd name="connsiteX10" fmla="*/ 1924425 w 2643290"/>
              <a:gd name="connsiteY10" fmla="*/ 2482018 h 2486164"/>
              <a:gd name="connsiteX11" fmla="*/ 1842316 w 2643290"/>
              <a:gd name="connsiteY11" fmla="*/ 2486164 h 2486164"/>
              <a:gd name="connsiteX12" fmla="*/ 1842274 w 2643290"/>
              <a:gd name="connsiteY12" fmla="*/ 2486164 h 2486164"/>
              <a:gd name="connsiteX13" fmla="*/ 1795099 w 2643290"/>
              <a:gd name="connsiteY13" fmla="*/ 2483782 h 2486164"/>
              <a:gd name="connsiteX14" fmla="*/ 843745 w 2643290"/>
              <a:gd name="connsiteY14" fmla="*/ 2483781 h 2486164"/>
              <a:gd name="connsiteX15" fmla="*/ 796590 w 2643290"/>
              <a:gd name="connsiteY15" fmla="*/ 2486162 h 2486164"/>
              <a:gd name="connsiteX16" fmla="*/ 796513 w 2643290"/>
              <a:gd name="connsiteY16" fmla="*/ 2486162 h 2486164"/>
              <a:gd name="connsiteX17" fmla="*/ 714421 w 2643290"/>
              <a:gd name="connsiteY17" fmla="*/ 2482017 h 2486164"/>
              <a:gd name="connsiteX18" fmla="*/ 9595 w 2643290"/>
              <a:gd name="connsiteY18" fmla="*/ 1844776 h 2486164"/>
              <a:gd name="connsiteX19" fmla="*/ 9273 w 2643290"/>
              <a:gd name="connsiteY19" fmla="*/ 1842667 h 2486164"/>
              <a:gd name="connsiteX20" fmla="*/ 0 w 2643290"/>
              <a:gd name="connsiteY20" fmla="*/ 1750685 h 2486164"/>
              <a:gd name="connsiteX21" fmla="*/ 2149 w 2643290"/>
              <a:gd name="connsiteY21" fmla="*/ 1729369 h 2486164"/>
              <a:gd name="connsiteX22" fmla="*/ 1 w 2643290"/>
              <a:gd name="connsiteY22" fmla="*/ 1718730 h 2486164"/>
              <a:gd name="connsiteX23" fmla="*/ 1 w 2643290"/>
              <a:gd name="connsiteY23" fmla="*/ 173570 h 2486164"/>
              <a:gd name="connsiteX24" fmla="*/ 173571 w 2643290"/>
              <a:gd name="connsiteY24" fmla="*/ 0 h 248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43290" h="2486164">
                <a:moveTo>
                  <a:pt x="173571" y="0"/>
                </a:moveTo>
                <a:lnTo>
                  <a:pt x="867831" y="0"/>
                </a:lnTo>
                <a:cubicBezTo>
                  <a:pt x="963691" y="0"/>
                  <a:pt x="1041401" y="77710"/>
                  <a:pt x="1041401" y="173570"/>
                </a:cubicBezTo>
                <a:lnTo>
                  <a:pt x="1041401" y="1718730"/>
                </a:lnTo>
                <a:lnTo>
                  <a:pt x="1041200" y="1719728"/>
                </a:lnTo>
                <a:lnTo>
                  <a:pt x="1043260" y="1719728"/>
                </a:lnTo>
                <a:lnTo>
                  <a:pt x="1043260" y="1719729"/>
                </a:lnTo>
                <a:lnTo>
                  <a:pt x="2642450" y="1719730"/>
                </a:lnTo>
                <a:lnTo>
                  <a:pt x="2643290" y="1728064"/>
                </a:lnTo>
                <a:lnTo>
                  <a:pt x="2641424" y="1765019"/>
                </a:lnTo>
                <a:cubicBezTo>
                  <a:pt x="2603031" y="2143072"/>
                  <a:pt x="2302479" y="2443624"/>
                  <a:pt x="1924425" y="2482018"/>
                </a:cubicBezTo>
                <a:lnTo>
                  <a:pt x="1842316" y="2486164"/>
                </a:lnTo>
                <a:lnTo>
                  <a:pt x="1842274" y="2486164"/>
                </a:lnTo>
                <a:lnTo>
                  <a:pt x="1795099" y="2483782"/>
                </a:lnTo>
                <a:lnTo>
                  <a:pt x="843745" y="2483781"/>
                </a:lnTo>
                <a:lnTo>
                  <a:pt x="796590" y="2486162"/>
                </a:lnTo>
                <a:lnTo>
                  <a:pt x="796513" y="2486162"/>
                </a:lnTo>
                <a:lnTo>
                  <a:pt x="714421" y="2482017"/>
                </a:lnTo>
                <a:cubicBezTo>
                  <a:pt x="363372" y="2446366"/>
                  <a:pt x="79147" y="2184670"/>
                  <a:pt x="9595" y="1844776"/>
                </a:cubicBezTo>
                <a:lnTo>
                  <a:pt x="9273" y="1842667"/>
                </a:lnTo>
                <a:lnTo>
                  <a:pt x="0" y="1750685"/>
                </a:lnTo>
                <a:lnTo>
                  <a:pt x="2149" y="1729369"/>
                </a:lnTo>
                <a:lnTo>
                  <a:pt x="1" y="1718730"/>
                </a:lnTo>
                <a:lnTo>
                  <a:pt x="1" y="173570"/>
                </a:lnTo>
                <a:cubicBezTo>
                  <a:pt x="1" y="77710"/>
                  <a:pt x="77711" y="0"/>
                  <a:pt x="173571" y="0"/>
                </a:cubicBezTo>
                <a:close/>
              </a:path>
            </a:pathLst>
          </a:custGeom>
          <a:solidFill>
            <a:schemeClr val="accent1">
              <a:lumMod val="70000"/>
              <a:lumOff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82" name="任意多边形: 形状 81"/>
          <p:cNvSpPr/>
          <p:nvPr>
            <p:custDataLst>
              <p:tags r:id="rId12"/>
            </p:custDataLst>
          </p:nvPr>
        </p:nvSpPr>
        <p:spPr>
          <a:xfrm rot="5400000">
            <a:off x="5199576" y="1895997"/>
            <a:ext cx="2457886" cy="2311781"/>
          </a:xfrm>
          <a:custGeom>
            <a:avLst/>
            <a:gdLst>
              <a:gd name="connsiteX0" fmla="*/ 173571 w 2643290"/>
              <a:gd name="connsiteY0" fmla="*/ 0 h 2486164"/>
              <a:gd name="connsiteX1" fmla="*/ 867831 w 2643290"/>
              <a:gd name="connsiteY1" fmla="*/ 0 h 2486164"/>
              <a:gd name="connsiteX2" fmla="*/ 1041401 w 2643290"/>
              <a:gd name="connsiteY2" fmla="*/ 173570 h 2486164"/>
              <a:gd name="connsiteX3" fmla="*/ 1041401 w 2643290"/>
              <a:gd name="connsiteY3" fmla="*/ 1718730 h 2486164"/>
              <a:gd name="connsiteX4" fmla="*/ 1041200 w 2643290"/>
              <a:gd name="connsiteY4" fmla="*/ 1719728 h 2486164"/>
              <a:gd name="connsiteX5" fmla="*/ 1043260 w 2643290"/>
              <a:gd name="connsiteY5" fmla="*/ 1719728 h 2486164"/>
              <a:gd name="connsiteX6" fmla="*/ 1043260 w 2643290"/>
              <a:gd name="connsiteY6" fmla="*/ 1719729 h 2486164"/>
              <a:gd name="connsiteX7" fmla="*/ 2642450 w 2643290"/>
              <a:gd name="connsiteY7" fmla="*/ 1719730 h 2486164"/>
              <a:gd name="connsiteX8" fmla="*/ 2643290 w 2643290"/>
              <a:gd name="connsiteY8" fmla="*/ 1728064 h 2486164"/>
              <a:gd name="connsiteX9" fmla="*/ 2641424 w 2643290"/>
              <a:gd name="connsiteY9" fmla="*/ 1765019 h 2486164"/>
              <a:gd name="connsiteX10" fmla="*/ 1924425 w 2643290"/>
              <a:gd name="connsiteY10" fmla="*/ 2482018 h 2486164"/>
              <a:gd name="connsiteX11" fmla="*/ 1842316 w 2643290"/>
              <a:gd name="connsiteY11" fmla="*/ 2486164 h 2486164"/>
              <a:gd name="connsiteX12" fmla="*/ 1842274 w 2643290"/>
              <a:gd name="connsiteY12" fmla="*/ 2486164 h 2486164"/>
              <a:gd name="connsiteX13" fmla="*/ 1795099 w 2643290"/>
              <a:gd name="connsiteY13" fmla="*/ 2483782 h 2486164"/>
              <a:gd name="connsiteX14" fmla="*/ 843745 w 2643290"/>
              <a:gd name="connsiteY14" fmla="*/ 2483781 h 2486164"/>
              <a:gd name="connsiteX15" fmla="*/ 796590 w 2643290"/>
              <a:gd name="connsiteY15" fmla="*/ 2486162 h 2486164"/>
              <a:gd name="connsiteX16" fmla="*/ 796513 w 2643290"/>
              <a:gd name="connsiteY16" fmla="*/ 2486162 h 2486164"/>
              <a:gd name="connsiteX17" fmla="*/ 714421 w 2643290"/>
              <a:gd name="connsiteY17" fmla="*/ 2482017 h 2486164"/>
              <a:gd name="connsiteX18" fmla="*/ 9595 w 2643290"/>
              <a:gd name="connsiteY18" fmla="*/ 1844776 h 2486164"/>
              <a:gd name="connsiteX19" fmla="*/ 9273 w 2643290"/>
              <a:gd name="connsiteY19" fmla="*/ 1842667 h 2486164"/>
              <a:gd name="connsiteX20" fmla="*/ 0 w 2643290"/>
              <a:gd name="connsiteY20" fmla="*/ 1750685 h 2486164"/>
              <a:gd name="connsiteX21" fmla="*/ 2149 w 2643290"/>
              <a:gd name="connsiteY21" fmla="*/ 1729369 h 2486164"/>
              <a:gd name="connsiteX22" fmla="*/ 1 w 2643290"/>
              <a:gd name="connsiteY22" fmla="*/ 1718730 h 2486164"/>
              <a:gd name="connsiteX23" fmla="*/ 1 w 2643290"/>
              <a:gd name="connsiteY23" fmla="*/ 173570 h 2486164"/>
              <a:gd name="connsiteX24" fmla="*/ 173571 w 2643290"/>
              <a:gd name="connsiteY24" fmla="*/ 0 h 248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43290" h="2486164">
                <a:moveTo>
                  <a:pt x="173571" y="0"/>
                </a:moveTo>
                <a:lnTo>
                  <a:pt x="867831" y="0"/>
                </a:lnTo>
                <a:cubicBezTo>
                  <a:pt x="963691" y="0"/>
                  <a:pt x="1041401" y="77710"/>
                  <a:pt x="1041401" y="173570"/>
                </a:cubicBezTo>
                <a:lnTo>
                  <a:pt x="1041401" y="1718730"/>
                </a:lnTo>
                <a:lnTo>
                  <a:pt x="1041200" y="1719728"/>
                </a:lnTo>
                <a:lnTo>
                  <a:pt x="1043260" y="1719728"/>
                </a:lnTo>
                <a:lnTo>
                  <a:pt x="1043260" y="1719729"/>
                </a:lnTo>
                <a:lnTo>
                  <a:pt x="2642450" y="1719730"/>
                </a:lnTo>
                <a:lnTo>
                  <a:pt x="2643290" y="1728064"/>
                </a:lnTo>
                <a:lnTo>
                  <a:pt x="2641424" y="1765019"/>
                </a:lnTo>
                <a:cubicBezTo>
                  <a:pt x="2603031" y="2143072"/>
                  <a:pt x="2302479" y="2443624"/>
                  <a:pt x="1924425" y="2482018"/>
                </a:cubicBezTo>
                <a:lnTo>
                  <a:pt x="1842316" y="2486164"/>
                </a:lnTo>
                <a:lnTo>
                  <a:pt x="1842274" y="2486164"/>
                </a:lnTo>
                <a:lnTo>
                  <a:pt x="1795099" y="2483782"/>
                </a:lnTo>
                <a:lnTo>
                  <a:pt x="843745" y="2483781"/>
                </a:lnTo>
                <a:lnTo>
                  <a:pt x="796590" y="2486162"/>
                </a:lnTo>
                <a:lnTo>
                  <a:pt x="796513" y="2486162"/>
                </a:lnTo>
                <a:lnTo>
                  <a:pt x="714421" y="2482017"/>
                </a:lnTo>
                <a:cubicBezTo>
                  <a:pt x="363372" y="2446366"/>
                  <a:pt x="79147" y="2184670"/>
                  <a:pt x="9595" y="1844776"/>
                </a:cubicBezTo>
                <a:lnTo>
                  <a:pt x="9273" y="1842667"/>
                </a:lnTo>
                <a:lnTo>
                  <a:pt x="0" y="1750685"/>
                </a:lnTo>
                <a:lnTo>
                  <a:pt x="2149" y="1729369"/>
                </a:lnTo>
                <a:lnTo>
                  <a:pt x="1" y="1718730"/>
                </a:lnTo>
                <a:lnTo>
                  <a:pt x="1" y="173570"/>
                </a:lnTo>
                <a:cubicBezTo>
                  <a:pt x="1" y="77710"/>
                  <a:pt x="77711" y="0"/>
                  <a:pt x="173571" y="0"/>
                </a:cubicBezTo>
                <a:close/>
              </a:path>
            </a:pathLst>
          </a:custGeom>
          <a:solidFill>
            <a:schemeClr val="accent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useBgFill="1">
        <p:nvSpPr>
          <p:cNvPr id="83" name="椭圆 82"/>
          <p:cNvSpPr/>
          <p:nvPr>
            <p:custDataLst>
              <p:tags r:id="rId13"/>
            </p:custDataLst>
          </p:nvPr>
        </p:nvSpPr>
        <p:spPr>
          <a:xfrm>
            <a:off x="5199575" y="2786966"/>
            <a:ext cx="1493865" cy="14938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2"/>
                </a:solidFill>
              </a:rPr>
              <a:t> </a:t>
            </a:r>
            <a:endParaRPr lang="zh-CN" altLang="en-US" dirty="0">
              <a:solidFill>
                <a:schemeClr val="bg2"/>
              </a:solidFill>
            </a:endParaRPr>
          </a:p>
        </p:txBody>
      </p:sp>
      <p:sp>
        <p:nvSpPr>
          <p:cNvPr id="85" name="椭圆 84"/>
          <p:cNvSpPr>
            <a:spLocks noChangeAspect="1"/>
          </p:cNvSpPr>
          <p:nvPr>
            <p:custDataLst>
              <p:tags r:id="rId14"/>
            </p:custDataLst>
          </p:nvPr>
        </p:nvSpPr>
        <p:spPr>
          <a:xfrm>
            <a:off x="4437538" y="2072683"/>
            <a:ext cx="576000" cy="576000"/>
          </a:xfrm>
          <a:prstGeom prst="ellipse">
            <a:avLst/>
          </a:prstGeom>
          <a:no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a:spLocks noChangeAspect="1"/>
          </p:cNvSpPr>
          <p:nvPr>
            <p:custDataLst>
              <p:tags r:id="rId15"/>
            </p:custDataLst>
          </p:nvPr>
        </p:nvSpPr>
        <p:spPr>
          <a:xfrm>
            <a:off x="6830206" y="2014617"/>
            <a:ext cx="576000" cy="576000"/>
          </a:xfrm>
          <a:prstGeom prst="ellipse">
            <a:avLst/>
          </a:prstGeom>
          <a:no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p:cNvSpPr>
            <a:spLocks noChangeAspect="1"/>
          </p:cNvSpPr>
          <p:nvPr>
            <p:custDataLst>
              <p:tags r:id="rId16"/>
            </p:custDataLst>
          </p:nvPr>
        </p:nvSpPr>
        <p:spPr>
          <a:xfrm>
            <a:off x="6905640" y="4414361"/>
            <a:ext cx="576000" cy="576000"/>
          </a:xfrm>
          <a:prstGeom prst="ellipse">
            <a:avLst/>
          </a:prstGeom>
          <a:no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椭圆 90"/>
          <p:cNvSpPr>
            <a:spLocks noChangeAspect="1"/>
          </p:cNvSpPr>
          <p:nvPr>
            <p:custDataLst>
              <p:tags r:id="rId17"/>
            </p:custDataLst>
          </p:nvPr>
        </p:nvSpPr>
        <p:spPr>
          <a:xfrm>
            <a:off x="4485569" y="4486401"/>
            <a:ext cx="576000" cy="576000"/>
          </a:xfrm>
          <a:prstGeom prst="ellipse">
            <a:avLst/>
          </a:prstGeom>
          <a:no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17" descr="343435383038363b343532323430323bcdc6b9e3b7bdb0b8"/>
          <p:cNvPicPr>
            <a:picLocks noChangeAspect="1"/>
          </p:cNvPicPr>
          <p:nvPr>
            <p:custDataLst>
              <p:tags r:id="rId18"/>
            </p:custDataLst>
          </p:nvPr>
        </p:nvPicPr>
        <p:blipFill>
          <a:blip r:embed="rId19">
            <a:extLst>
              <a:ext uri="{96DAC541-7B7A-43D3-8B79-37D633B846F1}">
                <asvg:svgBlip xmlns:asvg="http://schemas.microsoft.com/office/drawing/2016/SVG/main" r:embed="rId20"/>
              </a:ext>
            </a:extLst>
          </a:blip>
          <a:stretch>
            <a:fillRect/>
          </a:stretch>
        </p:blipFill>
        <p:spPr>
          <a:xfrm>
            <a:off x="6884206" y="2072683"/>
            <a:ext cx="468000" cy="468000"/>
          </a:xfrm>
          <a:prstGeom prst="rect">
            <a:avLst/>
          </a:prstGeom>
        </p:spPr>
      </p:pic>
      <p:pic>
        <p:nvPicPr>
          <p:cNvPr id="26" name="图片 23" descr="343439383331313b343532303034303bcffacadbb9dcc0ed"/>
          <p:cNvPicPr>
            <a:picLocks noChangeAspect="1"/>
          </p:cNvPicPr>
          <p:nvPr>
            <p:custDataLst>
              <p:tags r:id="rId21"/>
            </p:custDataLst>
          </p:nvPr>
        </p:nvPicPr>
        <p:blipFill>
          <a:blip r:embed="rId22">
            <a:extLst>
              <a:ext uri="{96DAC541-7B7A-43D3-8B79-37D633B846F1}">
                <asvg:svgBlip xmlns:asvg="http://schemas.microsoft.com/office/drawing/2016/SVG/main" r:embed="rId23"/>
              </a:ext>
            </a:extLst>
          </a:blip>
          <a:stretch>
            <a:fillRect/>
          </a:stretch>
        </p:blipFill>
        <p:spPr>
          <a:xfrm>
            <a:off x="5695444" y="3299953"/>
            <a:ext cx="504000" cy="504000"/>
          </a:xfrm>
          <a:prstGeom prst="rect">
            <a:avLst/>
          </a:prstGeom>
        </p:spPr>
      </p:pic>
      <p:pic>
        <p:nvPicPr>
          <p:cNvPr id="27" name="图片 15" descr="343435383038363b343532323430353bcdf8c2e7d3aacffa"/>
          <p:cNvPicPr>
            <a:picLocks noChangeAspect="1"/>
          </p:cNvPicPr>
          <p:nvPr>
            <p:custDataLst>
              <p:tags r:id="rId24"/>
            </p:custDataLst>
          </p:nvPr>
        </p:nvPicPr>
        <p:blipFill>
          <a:blip r:embed="rId25">
            <a:extLst>
              <a:ext uri="{96DAC541-7B7A-43D3-8B79-37D633B846F1}">
                <asvg:svgBlip xmlns:asvg="http://schemas.microsoft.com/office/drawing/2016/SVG/main" r:embed="rId26"/>
              </a:ext>
            </a:extLst>
          </a:blip>
          <a:stretch>
            <a:fillRect/>
          </a:stretch>
        </p:blipFill>
        <p:spPr>
          <a:xfrm>
            <a:off x="4491538" y="2126683"/>
            <a:ext cx="468000" cy="468000"/>
          </a:xfrm>
          <a:prstGeom prst="rect">
            <a:avLst/>
          </a:prstGeom>
        </p:spPr>
      </p:pic>
      <p:pic>
        <p:nvPicPr>
          <p:cNvPr id="28" name="图片 18" descr="343435383038363b343532323430313bd6b4d0d0bcc6bbae"/>
          <p:cNvPicPr>
            <a:picLocks noChangeAspect="1"/>
          </p:cNvPicPr>
          <p:nvPr>
            <p:custDataLst>
              <p:tags r:id="rId27"/>
            </p:custDataLst>
          </p:nvPr>
        </p:nvPicPr>
        <p:blipFill>
          <a:blip r:embed="rId28">
            <a:extLst>
              <a:ext uri="{96DAC541-7B7A-43D3-8B79-37D633B846F1}">
                <asvg:svgBlip xmlns:asvg="http://schemas.microsoft.com/office/drawing/2016/SVG/main" r:embed="rId29"/>
              </a:ext>
            </a:extLst>
          </a:blip>
          <a:stretch>
            <a:fillRect/>
          </a:stretch>
        </p:blipFill>
        <p:spPr>
          <a:xfrm>
            <a:off x="6962529" y="4468361"/>
            <a:ext cx="468000" cy="468000"/>
          </a:xfrm>
          <a:prstGeom prst="rect">
            <a:avLst/>
          </a:prstGeom>
        </p:spPr>
      </p:pic>
      <p:pic>
        <p:nvPicPr>
          <p:cNvPr id="29" name="图片 12" descr="343435383038363b343532323339343bcde2bbe3"/>
          <p:cNvPicPr>
            <a:picLocks noChangeAspect="1"/>
          </p:cNvPicPr>
          <p:nvPr>
            <p:custDataLst>
              <p:tags r:id="rId30"/>
            </p:custDataLst>
          </p:nvPr>
        </p:nvPicPr>
        <p:blipFill>
          <a:blip r:embed="rId31">
            <a:extLst>
              <a:ext uri="{96DAC541-7B7A-43D3-8B79-37D633B846F1}">
                <asvg:svgBlip xmlns:asvg="http://schemas.microsoft.com/office/drawing/2016/SVG/main" r:embed="rId32"/>
              </a:ext>
            </a:extLst>
          </a:blip>
          <a:stretch>
            <a:fillRect/>
          </a:stretch>
        </p:blipFill>
        <p:spPr>
          <a:xfrm>
            <a:off x="4539569" y="4540401"/>
            <a:ext cx="468000" cy="468000"/>
          </a:xfrm>
          <a:prstGeom prst="rect">
            <a:avLst/>
          </a:prstGeom>
        </p:spPr>
      </p:pic>
      <p:sp>
        <p:nvSpPr>
          <p:cNvPr id="3" name="标题 2"/>
          <p:cNvSpPr/>
          <p:nvPr>
            <p:ph type="title" idx="2"/>
            <p:custDataLst>
              <p:tags r:id="rId33"/>
            </p:custDataLst>
          </p:nvPr>
        </p:nvSpPr>
        <p:spPr>
          <a:xfrm>
            <a:off x="557425" y="611575"/>
            <a:ext cx="10969200" cy="705600"/>
          </a:xfrm>
        </p:spPr>
        <p:txBody>
          <a:bodyPr>
            <a:noAutofit/>
          </a:bodyPr>
          <a:p>
            <a:r>
              <a:rPr sz="4000">
                <a:sym typeface="+mn-ea"/>
              </a:rPr>
              <a:t>2025年工作成果展示</a:t>
            </a:r>
            <a:endParaRPr lang="zh-CN" altLang="en-US" sz="4000">
              <a:sym typeface="+mn-ea"/>
            </a:endParaRPr>
          </a:p>
        </p:txBody>
      </p:sp>
    </p:spTree>
    <p:custDataLst>
      <p:tags r:id="rId34"/>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txBox="1">
            <a:spLocks noGrp="1"/>
          </p:cNvSpPr>
          <p:nvPr>
            <p:ph type="title" idx="2"/>
            <p:custDataLst>
              <p:tags r:id="rId4"/>
            </p:custDataLst>
          </p:nvPr>
        </p:nvSpPr>
        <p:spPr>
          <a:noFill/>
          <a:ln>
            <a:noFill/>
            <a:prstDash val="sysDash"/>
          </a:ln>
        </p:spPr>
        <p:txBody>
          <a:bodyPr vert="horz" wrap="square" lIns="76199" tIns="38099" rIns="76199" bIns="38099" rtlCol="0" anchor="ctr">
            <a:noAutofit/>
          </a:bodyPr>
          <a:lstStyle>
            <a:lvl1pPr marL="0" marR="0" algn="l" defTabSz="914400" rtl="0" eaLnBrk="1" fontAlgn="auto" latinLnBrk="0" hangingPunct="1">
              <a:lnSpc>
                <a:spcPct val="100000"/>
              </a:lnSpc>
              <a:buClrTx/>
              <a:buSzTx/>
              <a:buFontTx/>
              <a:buNone/>
              <a:defRPr kumimoji="0" lang="zh-CN" altLang="en-US" sz="4320" b="1" i="0" u="none" strike="noStrike" kern="1200" cap="none" spc="300" normalizeH="0" baseline="0" noProof="1" dirty="0">
                <a:ln>
                  <a:noFill/>
                  <a:prstDash val="sysDot"/>
                </a:ln>
                <a:solidFill>
                  <a:schemeClr val="accent1"/>
                </a:solidFill>
                <a:latin typeface="+mj-ea"/>
                <a:ea typeface="+mj-ea"/>
                <a:cs typeface="+mj-lt"/>
              </a:defRPr>
            </a:lvl1pPr>
          </a:lstStyle>
          <a:p>
            <a:pPr lvl="0" algn="l"/>
            <a:r>
              <a:rPr sz="4000">
                <a:sym typeface="+mn-ea"/>
              </a:rPr>
              <a:t>运维需求工作成果展示</a:t>
            </a:r>
            <a:endParaRPr sz="4000">
              <a:sym typeface="+mn-ea"/>
            </a:endParaRPr>
          </a:p>
        </p:txBody>
      </p:sp>
      <p:graphicFrame>
        <p:nvGraphicFramePr>
          <p:cNvPr id="6" name="图表 5" descr="7b0a202020202263686172745265734964223a20223230343736363930220a7d0a"/>
          <p:cNvGraphicFramePr/>
          <p:nvPr/>
        </p:nvGraphicFramePr>
        <p:xfrm>
          <a:off x="665480" y="1296670"/>
          <a:ext cx="4826000" cy="274320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图表 7" descr="7b0a202020202263686172745265734964223a20223230343736363930220a7d0a"/>
          <p:cNvGraphicFramePr/>
          <p:nvPr/>
        </p:nvGraphicFramePr>
        <p:xfrm>
          <a:off x="6527800" y="1296670"/>
          <a:ext cx="4826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descr="7b0a202020202263686172745265734964223a20223530303731333035220a7d0a"/>
          <p:cNvGraphicFramePr/>
          <p:nvPr/>
        </p:nvGraphicFramePr>
        <p:xfrm>
          <a:off x="2631440" y="4039870"/>
          <a:ext cx="6480175" cy="2703830"/>
        </p:xfrm>
        <a:graphic>
          <a:graphicData uri="http://schemas.openxmlformats.org/drawingml/2006/chart">
            <c:chart xmlns:c="http://schemas.openxmlformats.org/drawingml/2006/chart" xmlns:r="http://schemas.openxmlformats.org/officeDocument/2006/relationships" r:id="rId3"/>
          </a:graphicData>
        </a:graphic>
      </p:graphicFrame>
    </p:spTree>
    <p:custDataLst>
      <p:tags r:id="rId5"/>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p:nvPr>
            <p:ph type="title" idx="2"/>
            <p:custDataLst>
              <p:tags r:id="rId1"/>
            </p:custDataLst>
          </p:nvPr>
        </p:nvSpPr>
        <p:spPr/>
        <p:txBody>
          <a:bodyPr>
            <a:noAutofit/>
          </a:bodyPr>
          <a:p>
            <a:r>
              <a:rPr lang="zh-CN" altLang="en-US" sz="4000"/>
              <a:t>反思与成长</a:t>
            </a:r>
            <a:endParaRPr lang="zh-CN" altLang="en-US" sz="4000"/>
          </a:p>
        </p:txBody>
      </p:sp>
      <p:sp>
        <p:nvSpPr>
          <p:cNvPr id="4" name="五边形 2"/>
          <p:cNvSpPr/>
          <p:nvPr>
            <p:custDataLst>
              <p:tags r:id="rId2"/>
            </p:custDataLst>
          </p:nvPr>
        </p:nvSpPr>
        <p:spPr>
          <a:xfrm>
            <a:off x="770038" y="5519453"/>
            <a:ext cx="10812578" cy="503013"/>
          </a:xfrm>
          <a:prstGeom prst="homePlate">
            <a:avLst/>
          </a:prstGeom>
          <a:solidFill>
            <a:schemeClr val="accent1"/>
          </a:solidFill>
          <a:ln w="19050">
            <a:gradFill>
              <a:gsLst>
                <a:gs pos="20000">
                  <a:schemeClr val="accent1">
                    <a:alpha val="0"/>
                  </a:schemeClr>
                </a:gs>
                <a:gs pos="90000">
                  <a:schemeClr val="accent1">
                    <a:alpha val="100000"/>
                  </a:schemeClr>
                </a:gs>
              </a:gsLst>
              <a:lin ang="0" scaled="1"/>
            </a:grad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algn="ctr"/>
            <a:endParaRPr lang="zh-CN" altLang="en-US">
              <a:solidFill>
                <a:schemeClr val="lt1"/>
              </a:solidFill>
              <a:sym typeface="+mn-ea"/>
            </a:endParaRPr>
          </a:p>
        </p:txBody>
      </p:sp>
      <p:cxnSp>
        <p:nvCxnSpPr>
          <p:cNvPr id="5" name="直接箭头连接符 5"/>
          <p:cNvCxnSpPr/>
          <p:nvPr>
            <p:custDataLst>
              <p:tags r:id="rId3"/>
            </p:custDataLst>
          </p:nvPr>
        </p:nvCxnSpPr>
        <p:spPr>
          <a:xfrm>
            <a:off x="671613" y="5772473"/>
            <a:ext cx="10581806" cy="0"/>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 name="直接连接符 6"/>
          <p:cNvCxnSpPr/>
          <p:nvPr>
            <p:custDataLst>
              <p:tags r:id="rId4"/>
            </p:custDataLst>
          </p:nvPr>
        </p:nvCxnSpPr>
        <p:spPr>
          <a:xfrm flipH="1">
            <a:off x="1019384" y="1631648"/>
            <a:ext cx="5086" cy="2416428"/>
          </a:xfrm>
          <a:prstGeom prst="line">
            <a:avLst/>
          </a:prstGeom>
          <a:ln w="25400">
            <a:gradFill>
              <a:gsLst>
                <a:gs pos="17000">
                  <a:schemeClr val="accent1">
                    <a:alpha val="0"/>
                  </a:schemeClr>
                </a:gs>
                <a:gs pos="61000">
                  <a:schemeClr val="accent1">
                    <a:alpha val="100000"/>
                  </a:schemeClr>
                </a:gs>
              </a:gsLst>
              <a:lin ang="16200000" scaled="1"/>
            </a:gradFill>
          </a:ln>
        </p:spPr>
        <p:style>
          <a:lnRef idx="1">
            <a:schemeClr val="accent1"/>
          </a:lnRef>
          <a:fillRef idx="0">
            <a:schemeClr val="accent1"/>
          </a:fillRef>
          <a:effectRef idx="0">
            <a:schemeClr val="accent1"/>
          </a:effectRef>
          <a:fontRef idx="minor">
            <a:schemeClr val="tx1"/>
          </a:fontRef>
        </p:style>
      </p:cxnSp>
      <p:sp>
        <p:nvSpPr>
          <p:cNvPr id="9" name="流程图: 延期 7"/>
          <p:cNvSpPr/>
          <p:nvPr>
            <p:custDataLst>
              <p:tags r:id="rId5"/>
            </p:custDataLst>
          </p:nvPr>
        </p:nvSpPr>
        <p:spPr>
          <a:xfrm>
            <a:off x="1024470" y="1631648"/>
            <a:ext cx="475530" cy="507952"/>
          </a:xfrm>
          <a:prstGeom prst="flowChartDelay">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p>
            <a:pPr algn="ctr">
              <a:spcBef>
                <a:spcPct val="0"/>
              </a:spcBef>
              <a:spcAft>
                <a:spcPct val="0"/>
              </a:spcAft>
            </a:pPr>
            <a:r>
              <a:rPr lang="en-US" altLang="zh-CN" b="1">
                <a:solidFill>
                  <a:srgbClr val="FFFFFF"/>
                </a:solidFill>
                <a:effectLst>
                  <a:outerShdw blurRad="50800" dist="38100" dir="5400000" algn="t" rotWithShape="0">
                    <a:schemeClr val="accent1">
                      <a:lumMod val="75000"/>
                      <a:alpha val="40000"/>
                    </a:schemeClr>
                  </a:outerShdw>
                </a:effectLst>
                <a:latin typeface="+mn-ea"/>
                <a:cs typeface="+mn-ea"/>
                <a:sym typeface="+mn-ea"/>
              </a:rPr>
              <a:t>01</a:t>
            </a:r>
            <a:endParaRPr lang="en-US" altLang="zh-CN" b="1">
              <a:solidFill>
                <a:srgbClr val="FFFFFF"/>
              </a:solidFill>
              <a:effectLst>
                <a:outerShdw blurRad="50800" dist="38100" dir="5400000" algn="t" rotWithShape="0">
                  <a:schemeClr val="accent1">
                    <a:lumMod val="75000"/>
                    <a:alpha val="40000"/>
                  </a:schemeClr>
                </a:outerShdw>
              </a:effectLst>
              <a:latin typeface="+mn-ea"/>
              <a:cs typeface="+mn-ea"/>
              <a:sym typeface="+mn-ea"/>
            </a:endParaRPr>
          </a:p>
        </p:txBody>
      </p:sp>
      <p:sp>
        <p:nvSpPr>
          <p:cNvPr id="8" name="矩形 9"/>
          <p:cNvSpPr/>
          <p:nvPr>
            <p:custDataLst>
              <p:tags r:id="rId6"/>
            </p:custDataLst>
          </p:nvPr>
        </p:nvSpPr>
        <p:spPr>
          <a:xfrm>
            <a:off x="1184910" y="2139315"/>
            <a:ext cx="4446270" cy="3412490"/>
          </a:xfrm>
          <a:prstGeom prst="rect">
            <a:avLst/>
          </a:prstGeom>
          <a:noFill/>
        </p:spPr>
        <p:txBody>
          <a:bodyPr wrap="square" lIns="0" tIns="0" rIns="0" bIns="0" rtlCol="0" anchor="t" anchorCtr="0">
            <a:noAutofit/>
          </a:bodyPr>
          <a:p>
            <a:pPr defTabSz="457200">
              <a:lnSpc>
                <a:spcPct val="150000"/>
              </a:lnSpc>
              <a:spcBef>
                <a:spcPct val="0"/>
              </a:spcBef>
              <a:spcAft>
                <a:spcPct val="0"/>
              </a:spcAft>
            </a:pP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项目多线并进的经验：面对多项目同步运转，我尝试通过灵活排序任务并可视化各阶段进度，让资源更聚焦于关键节点。</a:t>
            </a:r>
            <a:endPar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defTabSz="457200">
              <a:lnSpc>
                <a:spcPct val="150000"/>
              </a:lnSpc>
              <a:spcBef>
                <a:spcPct val="0"/>
              </a:spcBef>
              <a:spcAft>
                <a:spcPct val="0"/>
              </a:spcAft>
            </a:pPr>
            <a:endParaRPr lang="en-US" altLang="zh-CN"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defTabSz="457200">
              <a:lnSpc>
                <a:spcPct val="150000"/>
              </a:lnSpc>
              <a:spcBef>
                <a:spcPct val="0"/>
              </a:spcBef>
              <a:spcAft>
                <a:spcPct val="0"/>
              </a:spcAft>
            </a:pP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问题预判与解决：形成</a:t>
            </a:r>
            <a:r>
              <a:rPr lang="en-US" altLang="zh-CN"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提前预警</a:t>
            </a:r>
            <a:r>
              <a:rPr lang="en-US" altLang="zh-CN"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快速响应</a:t>
            </a:r>
            <a:r>
              <a:rPr lang="en-US" altLang="zh-CN"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模式，积累常见问题解决方案，缩短处理时间。</a:t>
            </a:r>
            <a:endPar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defTabSz="457200">
              <a:lnSpc>
                <a:spcPct val="150000"/>
              </a:lnSpc>
              <a:spcBef>
                <a:spcPct val="0"/>
              </a:spcBef>
              <a:spcAft>
                <a:spcPct val="0"/>
              </a:spcAft>
            </a:pPr>
            <a:endParaRPr lang="en-US" altLang="zh-CN"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defTabSz="457200">
              <a:lnSpc>
                <a:spcPct val="150000"/>
              </a:lnSpc>
              <a:spcBef>
                <a:spcPct val="0"/>
              </a:spcBef>
              <a:spcAft>
                <a:spcPct val="0"/>
              </a:spcAft>
            </a:pPr>
            <a:r>
              <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客户沟通：更善于从业务场景理解需求，在费用、变更等沟通中能平衡双方诉求，维护合作关系。</a:t>
            </a:r>
            <a:endParaRPr lang="zh-CN" altLang="en-US" sz="16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p:txBody>
      </p:sp>
      <p:sp>
        <p:nvSpPr>
          <p:cNvPr id="10" name="矩形 10"/>
          <p:cNvSpPr/>
          <p:nvPr>
            <p:custDataLst>
              <p:tags r:id="rId7"/>
            </p:custDataLst>
          </p:nvPr>
        </p:nvSpPr>
        <p:spPr>
          <a:xfrm>
            <a:off x="1702163" y="1693314"/>
            <a:ext cx="2918023" cy="385891"/>
          </a:xfrm>
          <a:prstGeom prst="rect">
            <a:avLst/>
          </a:prstGeom>
          <a:noFill/>
        </p:spPr>
        <p:txBody>
          <a:bodyPr wrap="square" lIns="0" tIns="0" rIns="0" bIns="0" rtlCol="0" anchor="ctr" anchorCtr="0">
            <a:noAutofit/>
          </a:bodyPr>
          <a:p>
            <a:pPr>
              <a:spcBef>
                <a:spcPct val="0"/>
              </a:spcBef>
              <a:spcAft>
                <a:spcPct val="0"/>
              </a:spcAft>
            </a:pPr>
            <a:r>
              <a:rPr lang="zh-CN" altLang="en-US" sz="2000" b="1" dirty="0">
                <a:solidFill>
                  <a:schemeClr val="accent1"/>
                </a:solidFill>
                <a:latin typeface="+mn-ea"/>
                <a:cs typeface="+mn-ea"/>
              </a:rPr>
              <a:t>能力提升</a:t>
            </a:r>
            <a:endParaRPr lang="zh-CN" altLang="en-US" sz="2000" b="1" dirty="0">
              <a:solidFill>
                <a:schemeClr val="accent1"/>
              </a:solidFill>
              <a:latin typeface="+mn-ea"/>
              <a:cs typeface="+mn-ea"/>
            </a:endParaRPr>
          </a:p>
        </p:txBody>
      </p:sp>
      <p:sp>
        <p:nvSpPr>
          <p:cNvPr id="16" name="椭圆 11"/>
          <p:cNvSpPr/>
          <p:nvPr>
            <p:custDataLst>
              <p:tags r:id="rId8"/>
            </p:custDataLst>
          </p:nvPr>
        </p:nvSpPr>
        <p:spPr>
          <a:xfrm>
            <a:off x="1086634" y="5720992"/>
            <a:ext cx="93453" cy="93453"/>
          </a:xfrm>
          <a:prstGeom prst="ellipse">
            <a:avLst/>
          </a:prstGeom>
          <a:solidFill>
            <a:schemeClr val="accent1">
              <a:lumMod val="40000"/>
              <a:lumOff val="6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p>
            <a:pPr algn="ctr"/>
            <a:endParaRPr lang="zh-CN" altLang="en-US">
              <a:solidFill>
                <a:schemeClr val="lt1"/>
              </a:solidFill>
              <a:cs typeface="微软雅黑" panose="020B0503020204020204" charset="-122"/>
            </a:endParaRPr>
          </a:p>
        </p:txBody>
      </p:sp>
      <p:cxnSp>
        <p:nvCxnSpPr>
          <p:cNvPr id="24" name="直接连接符 12"/>
          <p:cNvCxnSpPr/>
          <p:nvPr>
            <p:custDataLst>
              <p:tags r:id="rId9"/>
            </p:custDataLst>
          </p:nvPr>
        </p:nvCxnSpPr>
        <p:spPr>
          <a:xfrm>
            <a:off x="5709610" y="1620218"/>
            <a:ext cx="10160" cy="2387600"/>
          </a:xfrm>
          <a:prstGeom prst="line">
            <a:avLst/>
          </a:prstGeom>
          <a:ln w="25400">
            <a:gradFill>
              <a:gsLst>
                <a:gs pos="17000">
                  <a:schemeClr val="accent3">
                    <a:alpha val="0"/>
                  </a:schemeClr>
                </a:gs>
                <a:gs pos="61000">
                  <a:schemeClr val="accent3">
                    <a:alpha val="100000"/>
                  </a:schemeClr>
                </a:gs>
              </a:gsLst>
              <a:lin ang="16200000" scaled="1"/>
            </a:gradFill>
          </a:ln>
        </p:spPr>
        <p:style>
          <a:lnRef idx="1">
            <a:schemeClr val="accent1"/>
          </a:lnRef>
          <a:fillRef idx="0">
            <a:schemeClr val="accent1"/>
          </a:fillRef>
          <a:effectRef idx="0">
            <a:schemeClr val="accent1"/>
          </a:effectRef>
          <a:fontRef idx="minor">
            <a:schemeClr val="tx1"/>
          </a:fontRef>
        </p:style>
      </p:cxnSp>
      <p:sp>
        <p:nvSpPr>
          <p:cNvPr id="25" name="矩形 17"/>
          <p:cNvSpPr/>
          <p:nvPr>
            <p:custDataLst>
              <p:tags r:id="rId10"/>
            </p:custDataLst>
          </p:nvPr>
        </p:nvSpPr>
        <p:spPr>
          <a:xfrm>
            <a:off x="5880735" y="2117725"/>
            <a:ext cx="5324475" cy="3613150"/>
          </a:xfrm>
          <a:prstGeom prst="rect">
            <a:avLst/>
          </a:prstGeom>
          <a:noFill/>
        </p:spPr>
        <p:txBody>
          <a:bodyPr wrap="square" lIns="0" tIns="0" rIns="0" bIns="0" rtlCol="0" anchor="t" anchorCtr="0">
            <a:noAutofit/>
          </a:bodyPr>
          <a:p>
            <a:pPr defTabSz="457200">
              <a:lnSpc>
                <a:spcPct val="150000"/>
              </a:lnSpc>
              <a:spcBef>
                <a:spcPct val="0"/>
              </a:spcBef>
              <a:spcAft>
                <a:spcPct val="0"/>
              </a:spcAft>
            </a:pP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技术深度：面对复杂技术问题仍需较多支持，后续将加强系统架构与核心模块学习，提高独立解决能力。</a:t>
            </a:r>
            <a:endPar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defTabSz="457200">
              <a:lnSpc>
                <a:spcPct val="150000"/>
              </a:lnSpc>
              <a:spcBef>
                <a:spcPct val="0"/>
              </a:spcBef>
              <a:spcAft>
                <a:spcPct val="0"/>
              </a:spcAft>
            </a:pPr>
            <a:endPar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defTabSz="457200">
              <a:lnSpc>
                <a:spcPct val="150000"/>
              </a:lnSpc>
              <a:spcBef>
                <a:spcPct val="0"/>
              </a:spcBef>
              <a:spcAft>
                <a:spcPct val="0"/>
              </a:spcAft>
            </a:pP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需求精细化管理：部分需求评估不够精准，变更流程可进一步规范。下一步将优化评估模型，明确变更管理机制。</a:t>
            </a:r>
            <a:endPar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defTabSz="457200">
              <a:lnSpc>
                <a:spcPct val="150000"/>
              </a:lnSpc>
              <a:spcBef>
                <a:spcPct val="0"/>
              </a:spcBef>
              <a:spcAft>
                <a:spcPct val="0"/>
              </a:spcAft>
            </a:pPr>
            <a:endPar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defTabSz="457200">
              <a:lnSpc>
                <a:spcPct val="150000"/>
              </a:lnSpc>
              <a:spcBef>
                <a:spcPct val="0"/>
              </a:spcBef>
              <a:spcAft>
                <a:spcPct val="0"/>
              </a:spcAft>
            </a:pP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团队协力的调优空间：协同工作中，有时信息流转不够顺畅，下一步希望能推动建立</a:t>
            </a:r>
            <a:r>
              <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轻量同步</a:t>
            </a:r>
            <a:r>
              <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实时看板</a:t>
            </a:r>
            <a:r>
              <a:rPr lang="en-US" alt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的机制，既避免频繁会议带来的负担，又让各环节动态透明</a:t>
            </a:r>
            <a:r>
              <a:rPr 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a:t>
            </a:r>
            <a:endParaRPr lang="zh-CN" sz="1600" kern="0" dirty="0">
              <a:ln>
                <a:noFill/>
                <a:prstDash val="sysDot"/>
              </a:ln>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26" name="流程图: 延期 19"/>
          <p:cNvSpPr/>
          <p:nvPr>
            <p:custDataLst>
              <p:tags r:id="rId11"/>
            </p:custDataLst>
          </p:nvPr>
        </p:nvSpPr>
        <p:spPr>
          <a:xfrm>
            <a:off x="5799145" y="1629108"/>
            <a:ext cx="475530" cy="507952"/>
          </a:xfrm>
          <a:prstGeom prst="flowChartDelay">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none" lIns="0" tIns="0" rIns="0" bIns="0" numCol="1" spcCol="0" rtlCol="0" fromWordArt="0" anchor="ctr" anchorCtr="0" forceAA="0" compatLnSpc="1">
            <a:normAutofit/>
          </a:bodyPr>
          <a:p>
            <a:pPr lvl="0" algn="ctr">
              <a:spcBef>
                <a:spcPct val="0"/>
              </a:spcBef>
              <a:spcAft>
                <a:spcPct val="0"/>
              </a:spcAft>
              <a:buClrTx/>
              <a:buSzTx/>
              <a:buFontTx/>
            </a:pPr>
            <a:r>
              <a:rPr lang="en-US" altLang="zh-CN" b="1">
                <a:solidFill>
                  <a:srgbClr val="FFFFFF"/>
                </a:solidFill>
                <a:effectLst>
                  <a:outerShdw blurRad="50800" dist="38100" dir="5400000" algn="t" rotWithShape="0">
                    <a:schemeClr val="accent3">
                      <a:lumMod val="75000"/>
                      <a:alpha val="40000"/>
                    </a:schemeClr>
                  </a:outerShdw>
                </a:effectLst>
                <a:latin typeface="+mn-ea"/>
                <a:cs typeface="+mn-ea"/>
                <a:sym typeface="+mn-ea"/>
              </a:rPr>
              <a:t>02</a:t>
            </a:r>
            <a:endParaRPr lang="en-US" altLang="zh-CN" b="1" dirty="0">
              <a:solidFill>
                <a:srgbClr val="FFFFFF"/>
              </a:solidFill>
              <a:effectLst>
                <a:outerShdw blurRad="50800" dist="38100" dir="5400000" algn="t" rotWithShape="0">
                  <a:schemeClr val="accent3">
                    <a:lumMod val="75000"/>
                    <a:alpha val="40000"/>
                  </a:schemeClr>
                </a:outerShdw>
              </a:effectLst>
              <a:latin typeface="+mn-ea"/>
              <a:cs typeface="+mn-ea"/>
              <a:sym typeface="+mn-ea"/>
            </a:endParaRPr>
          </a:p>
        </p:txBody>
      </p:sp>
      <p:sp>
        <p:nvSpPr>
          <p:cNvPr id="27" name="矩形 20"/>
          <p:cNvSpPr/>
          <p:nvPr>
            <p:custDataLst>
              <p:tags r:id="rId12"/>
            </p:custDataLst>
          </p:nvPr>
        </p:nvSpPr>
        <p:spPr>
          <a:xfrm>
            <a:off x="6476838" y="1690774"/>
            <a:ext cx="2926287" cy="385891"/>
          </a:xfrm>
          <a:prstGeom prst="rect">
            <a:avLst/>
          </a:prstGeom>
          <a:noFill/>
        </p:spPr>
        <p:txBody>
          <a:bodyPr wrap="square" lIns="0" tIns="0" rIns="0" bIns="0" rtlCol="0" anchor="ctr" anchorCtr="0">
            <a:noAutofit/>
          </a:bodyPr>
          <a:p>
            <a:pPr>
              <a:spcBef>
                <a:spcPct val="0"/>
              </a:spcBef>
              <a:spcAft>
                <a:spcPct val="0"/>
              </a:spcAft>
            </a:pPr>
            <a:r>
              <a:rPr lang="zh-CN" altLang="en-US" sz="2000" b="1" dirty="0">
                <a:solidFill>
                  <a:schemeClr val="accent3"/>
                </a:solidFill>
                <a:latin typeface="+mn-ea"/>
                <a:cs typeface="+mn-ea"/>
              </a:rPr>
              <a:t>待改进之处</a:t>
            </a:r>
            <a:endParaRPr lang="zh-CN" altLang="en-US" sz="2000" b="1" dirty="0">
              <a:solidFill>
                <a:schemeClr val="accent3"/>
              </a:solidFill>
              <a:latin typeface="+mn-ea"/>
              <a:cs typeface="+mn-ea"/>
            </a:endParaRPr>
          </a:p>
        </p:txBody>
      </p:sp>
      <p:sp>
        <p:nvSpPr>
          <p:cNvPr id="28" name="椭圆 21"/>
          <p:cNvSpPr/>
          <p:nvPr>
            <p:custDataLst>
              <p:tags r:id="rId13"/>
            </p:custDataLst>
          </p:nvPr>
        </p:nvSpPr>
        <p:spPr>
          <a:xfrm>
            <a:off x="5679700" y="5720992"/>
            <a:ext cx="93453" cy="93453"/>
          </a:xfrm>
          <a:prstGeom prst="ellipse">
            <a:avLst/>
          </a:prstGeom>
          <a:solidFill>
            <a:schemeClr val="accent3">
              <a:lumMod val="60000"/>
              <a:lumOff val="4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p>
            <a:pPr algn="ctr"/>
            <a:endParaRPr lang="zh-CN" altLang="en-US">
              <a:solidFill>
                <a:schemeClr val="lt1"/>
              </a:solidFill>
              <a:cs typeface="微软雅黑" panose="020B0503020204020204" charset="-122"/>
            </a:endParaRPr>
          </a:p>
        </p:txBody>
      </p:sp>
    </p:spTree>
    <p:custDataLst>
      <p:tags r:id="rId14"/>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p:nvPr>
            <p:ph type="title" idx="2"/>
            <p:custDataLst>
              <p:tags r:id="rId1"/>
            </p:custDataLst>
          </p:nvPr>
        </p:nvSpPr>
        <p:spPr>
          <a:xfrm>
            <a:off x="611400" y="937965"/>
            <a:ext cx="10969200" cy="705600"/>
          </a:xfrm>
        </p:spPr>
        <p:txBody>
          <a:bodyPr>
            <a:noAutofit/>
          </a:bodyPr>
          <a:p>
            <a:r>
              <a:rPr sz="4000"/>
              <a:t>2026</a:t>
            </a:r>
            <a:r>
              <a:rPr lang="zh-CN" altLang="en-US" sz="4000"/>
              <a:t>年工作计划</a:t>
            </a:r>
            <a:br>
              <a:rPr lang="zh-CN" altLang="en-US" sz="4000"/>
            </a:br>
            <a:endParaRPr lang="zh-CN" altLang="en-US" sz="4000"/>
          </a:p>
        </p:txBody>
      </p:sp>
      <p:cxnSp>
        <p:nvCxnSpPr>
          <p:cNvPr id="6" name="直接连接符 3"/>
          <p:cNvCxnSpPr/>
          <p:nvPr>
            <p:custDataLst>
              <p:tags r:id="rId2"/>
            </p:custDataLst>
          </p:nvPr>
        </p:nvCxnSpPr>
        <p:spPr>
          <a:xfrm>
            <a:off x="0" y="5524973"/>
            <a:ext cx="1219200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13"/>
          <p:cNvCxnSpPr/>
          <p:nvPr>
            <p:custDataLst>
              <p:tags r:id="rId3"/>
            </p:custDataLst>
          </p:nvPr>
        </p:nvCxnSpPr>
        <p:spPr>
          <a:xfrm flipH="1" flipV="1">
            <a:off x="3573145" y="3920328"/>
            <a:ext cx="1" cy="1549366"/>
          </a:xfrm>
          <a:prstGeom prst="line">
            <a:avLst/>
          </a:prstGeom>
          <a:ln w="12700">
            <a:solidFill>
              <a:schemeClr val="tx1">
                <a:lumMod val="50000"/>
                <a:lumOff val="50000"/>
                <a:alpha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9" name="直角三角形 19"/>
          <p:cNvSpPr/>
          <p:nvPr>
            <p:custDataLst>
              <p:tags r:id="rId4"/>
            </p:custDataLst>
          </p:nvPr>
        </p:nvSpPr>
        <p:spPr>
          <a:xfrm flipV="1">
            <a:off x="3575050" y="3952078"/>
            <a:ext cx="342035" cy="149362"/>
          </a:xfrm>
          <a:prstGeom prst="rtTriangl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10" name="椭圆 12"/>
          <p:cNvSpPr/>
          <p:nvPr>
            <p:custDataLst>
              <p:tags r:id="rId5"/>
            </p:custDataLst>
          </p:nvPr>
        </p:nvSpPr>
        <p:spPr>
          <a:xfrm>
            <a:off x="3512820" y="5469728"/>
            <a:ext cx="121359" cy="121359"/>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11" name="矩形 8"/>
          <p:cNvSpPr/>
          <p:nvPr>
            <p:custDataLst>
              <p:tags r:id="rId6"/>
            </p:custDataLst>
          </p:nvPr>
        </p:nvSpPr>
        <p:spPr>
          <a:xfrm>
            <a:off x="1426210" y="3523453"/>
            <a:ext cx="2490785" cy="428818"/>
          </a:xfrm>
          <a:prstGeom prst="rect">
            <a:avLst/>
          </a:prstGeom>
          <a:gradFill>
            <a:gsLst>
              <a:gs pos="0">
                <a:schemeClr val="accent1">
                  <a:lumMod val="60000"/>
                  <a:lumOff val="40000"/>
                  <a:alpha val="100000"/>
                </a:schemeClr>
              </a:gs>
              <a:gs pos="74000">
                <a:schemeClr val="accent1">
                  <a:alpha val="100000"/>
                </a:schemeClr>
              </a:gs>
              <a:gs pos="83000">
                <a:schemeClr val="accent1">
                  <a:alpha val="100000"/>
                </a:schemeClr>
              </a:gs>
              <a:gs pos="100000">
                <a:schemeClr val="accent1">
                  <a:alpha val="100000"/>
                </a:schemeClr>
              </a:gs>
            </a:gsLst>
            <a:lin ang="189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lIns="144000" rtlCol="0" anchor="ctr"/>
          <a:p>
            <a:r>
              <a:rPr lang="zh-CN" altLang="en-US" sz="1800" b="1" spc="100" dirty="0">
                <a:solidFill>
                  <a:srgbClr val="FFFFFF"/>
                </a:solidFill>
              </a:rPr>
              <a:t>诺华</a:t>
            </a:r>
            <a:endParaRPr lang="zh-CN" altLang="en-US" sz="1800" b="1" spc="100" dirty="0">
              <a:solidFill>
                <a:srgbClr val="FFFFFF"/>
              </a:solidFill>
            </a:endParaRPr>
          </a:p>
        </p:txBody>
      </p:sp>
      <p:sp>
        <p:nvSpPr>
          <p:cNvPr id="27" name="文本框 22"/>
          <p:cNvSpPr txBox="1"/>
          <p:nvPr>
            <p:custDataLst>
              <p:tags r:id="rId7"/>
            </p:custDataLst>
          </p:nvPr>
        </p:nvSpPr>
        <p:spPr>
          <a:xfrm>
            <a:off x="1562100" y="4121150"/>
            <a:ext cx="1796415" cy="1404620"/>
          </a:xfrm>
          <a:prstGeom prst="rect">
            <a:avLst/>
          </a:prstGeom>
          <a:noFill/>
        </p:spPr>
        <p:txBody>
          <a:bodyPr wrap="square" lIns="0" tIns="0" rIns="0" bIns="0" rtlCol="0">
            <a:noAutofit/>
          </a:bodyPr>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1</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优化需求管理流程，加强进度可视化；</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2</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定期调研客户新需求，提前布局解决方案，提升合作深度。</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p:txBody>
      </p:sp>
      <p:cxnSp>
        <p:nvCxnSpPr>
          <p:cNvPr id="28" name="直接连接符 15"/>
          <p:cNvCxnSpPr/>
          <p:nvPr>
            <p:custDataLst>
              <p:tags r:id="rId8"/>
            </p:custDataLst>
          </p:nvPr>
        </p:nvCxnSpPr>
        <p:spPr>
          <a:xfrm flipH="1" flipV="1">
            <a:off x="6909435" y="2917663"/>
            <a:ext cx="1" cy="2546316"/>
          </a:xfrm>
          <a:prstGeom prst="line">
            <a:avLst/>
          </a:prstGeom>
          <a:ln w="12700">
            <a:solidFill>
              <a:schemeClr val="tx1">
                <a:lumMod val="50000"/>
                <a:lumOff val="50000"/>
                <a:alpha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9" name="椭圆 14"/>
          <p:cNvSpPr/>
          <p:nvPr>
            <p:custDataLst>
              <p:tags r:id="rId9"/>
            </p:custDataLst>
          </p:nvPr>
        </p:nvSpPr>
        <p:spPr>
          <a:xfrm>
            <a:off x="6848475" y="5464013"/>
            <a:ext cx="121359" cy="12135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30" name="矩形 10"/>
          <p:cNvSpPr/>
          <p:nvPr>
            <p:custDataLst>
              <p:tags r:id="rId10"/>
            </p:custDataLst>
          </p:nvPr>
        </p:nvSpPr>
        <p:spPr>
          <a:xfrm>
            <a:off x="4761865" y="2580478"/>
            <a:ext cx="2490785" cy="428818"/>
          </a:xfrm>
          <a:prstGeom prst="rect">
            <a:avLst/>
          </a:prstGeom>
          <a:gradFill>
            <a:gsLst>
              <a:gs pos="0">
                <a:schemeClr val="accent2">
                  <a:lumMod val="60000"/>
                  <a:lumOff val="40000"/>
                  <a:alpha val="100000"/>
                </a:schemeClr>
              </a:gs>
              <a:gs pos="74000">
                <a:schemeClr val="accent2">
                  <a:alpha val="100000"/>
                </a:schemeClr>
              </a:gs>
              <a:gs pos="83000">
                <a:schemeClr val="accent2">
                  <a:alpha val="100000"/>
                </a:schemeClr>
              </a:gs>
              <a:gs pos="100000">
                <a:schemeClr val="accent2">
                  <a:alpha val="100000"/>
                </a:schemeClr>
              </a:gs>
            </a:gsLst>
            <a:lin ang="189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lIns="144000" rtlCol="0" anchor="ctr"/>
          <a:p>
            <a:r>
              <a:rPr lang="zh-CN" altLang="en-US" sz="1800" b="1" spc="100" dirty="0">
                <a:solidFill>
                  <a:srgbClr val="FFFFFF"/>
                </a:solidFill>
              </a:rPr>
              <a:t>森世海亚</a:t>
            </a:r>
            <a:endParaRPr lang="zh-CN" altLang="en-US" sz="1800" b="1" spc="100" dirty="0">
              <a:solidFill>
                <a:srgbClr val="FFFFFF"/>
              </a:solidFill>
            </a:endParaRPr>
          </a:p>
        </p:txBody>
      </p:sp>
      <p:sp>
        <p:nvSpPr>
          <p:cNvPr id="31" name="直角三角形 20"/>
          <p:cNvSpPr/>
          <p:nvPr>
            <p:custDataLst>
              <p:tags r:id="rId11"/>
            </p:custDataLst>
          </p:nvPr>
        </p:nvSpPr>
        <p:spPr>
          <a:xfrm flipV="1">
            <a:off x="6909435" y="3009103"/>
            <a:ext cx="342035" cy="149362"/>
          </a:xfrm>
          <a:prstGeom prst="rtTriangle">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32" name="文本框 37"/>
          <p:cNvSpPr txBox="1"/>
          <p:nvPr>
            <p:custDataLst>
              <p:tags r:id="rId12"/>
            </p:custDataLst>
          </p:nvPr>
        </p:nvSpPr>
        <p:spPr>
          <a:xfrm>
            <a:off x="4892675" y="3158328"/>
            <a:ext cx="1796231" cy="860422"/>
          </a:xfrm>
          <a:prstGeom prst="rect">
            <a:avLst/>
          </a:prstGeom>
          <a:noFill/>
        </p:spPr>
        <p:txBody>
          <a:bodyPr wrap="square" lIns="0" tIns="0" rIns="0" bIns="0" rtlCol="0">
            <a:noAutofit/>
          </a:bodyPr>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1</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加强系统监控</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提升问题自主处理能力；</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2</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聚焦业务增长需求，强化前期调研；</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3</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规范费用结算流程，定期复盘费用数据。</a:t>
            </a:r>
            <a:endPar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p:txBody>
      </p:sp>
      <p:cxnSp>
        <p:nvCxnSpPr>
          <p:cNvPr id="33" name="直接连接符 17"/>
          <p:cNvCxnSpPr/>
          <p:nvPr>
            <p:custDataLst>
              <p:tags r:id="rId13"/>
            </p:custDataLst>
          </p:nvPr>
        </p:nvCxnSpPr>
        <p:spPr>
          <a:xfrm flipH="1" flipV="1">
            <a:off x="10433685" y="1993738"/>
            <a:ext cx="1" cy="3470241"/>
          </a:xfrm>
          <a:prstGeom prst="line">
            <a:avLst/>
          </a:prstGeom>
          <a:ln w="12700">
            <a:solidFill>
              <a:schemeClr val="tx1">
                <a:lumMod val="50000"/>
                <a:lumOff val="50000"/>
                <a:alpha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直角三角形 21"/>
          <p:cNvSpPr/>
          <p:nvPr>
            <p:custDataLst>
              <p:tags r:id="rId14"/>
            </p:custDataLst>
          </p:nvPr>
        </p:nvSpPr>
        <p:spPr>
          <a:xfrm flipV="1">
            <a:off x="10440670" y="2071843"/>
            <a:ext cx="342035" cy="149362"/>
          </a:xfrm>
          <a:prstGeom prst="rtTriangl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35" name="椭圆 16"/>
          <p:cNvSpPr/>
          <p:nvPr>
            <p:custDataLst>
              <p:tags r:id="rId15"/>
            </p:custDataLst>
          </p:nvPr>
        </p:nvSpPr>
        <p:spPr>
          <a:xfrm>
            <a:off x="10372725" y="5464013"/>
            <a:ext cx="121359" cy="121359"/>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sp>
        <p:nvSpPr>
          <p:cNvPr id="36" name="矩形 11"/>
          <p:cNvSpPr/>
          <p:nvPr>
            <p:custDataLst>
              <p:tags r:id="rId16"/>
            </p:custDataLst>
          </p:nvPr>
        </p:nvSpPr>
        <p:spPr>
          <a:xfrm>
            <a:off x="8293735" y="1643218"/>
            <a:ext cx="2490785" cy="428818"/>
          </a:xfrm>
          <a:prstGeom prst="rect">
            <a:avLst/>
          </a:prstGeom>
          <a:gradFill>
            <a:gsLst>
              <a:gs pos="0">
                <a:schemeClr val="accent3">
                  <a:lumMod val="60000"/>
                  <a:lumOff val="40000"/>
                  <a:alpha val="100000"/>
                </a:schemeClr>
              </a:gs>
              <a:gs pos="74000">
                <a:schemeClr val="accent3">
                  <a:alpha val="100000"/>
                </a:schemeClr>
              </a:gs>
              <a:gs pos="83000">
                <a:schemeClr val="accent3">
                  <a:alpha val="100000"/>
                </a:schemeClr>
              </a:gs>
              <a:gs pos="100000">
                <a:schemeClr val="accent3">
                  <a:alpha val="100000"/>
                </a:schemeClr>
              </a:gs>
            </a:gsLst>
            <a:lin ang="18900000" scaled="0"/>
          </a:gradFill>
          <a:ln>
            <a:noFill/>
          </a:ln>
        </p:spPr>
        <p:style>
          <a:lnRef idx="2">
            <a:schemeClr val="accent1">
              <a:lumMod val="75000"/>
            </a:schemeClr>
          </a:lnRef>
          <a:fillRef idx="1">
            <a:schemeClr val="accent1"/>
          </a:fillRef>
          <a:effectRef idx="0">
            <a:srgbClr val="FFFFFF"/>
          </a:effectRef>
          <a:fontRef idx="minor">
            <a:schemeClr val="lt1"/>
          </a:fontRef>
        </p:style>
        <p:txBody>
          <a:bodyPr lIns="144000" rtlCol="0" anchor="ctr"/>
          <a:p>
            <a:r>
              <a:rPr lang="zh-CN" altLang="en-US" sz="1800" b="1" spc="100" dirty="0">
                <a:solidFill>
                  <a:srgbClr val="FFFFFF"/>
                </a:solidFill>
              </a:rPr>
              <a:t>泰诺麦</a:t>
            </a:r>
            <a:r>
              <a:rPr lang="zh-CN" altLang="en-US" sz="1800" b="1" spc="100" dirty="0">
                <a:solidFill>
                  <a:srgbClr val="FFFFFF"/>
                </a:solidFill>
              </a:rPr>
              <a:t>博</a:t>
            </a:r>
            <a:endParaRPr lang="zh-CN" altLang="en-US" sz="1800" b="1" spc="100" dirty="0">
              <a:solidFill>
                <a:srgbClr val="FFFFFF"/>
              </a:solidFill>
            </a:endParaRPr>
          </a:p>
        </p:txBody>
      </p:sp>
      <p:sp>
        <p:nvSpPr>
          <p:cNvPr id="37" name="文本框 38"/>
          <p:cNvSpPr txBox="1"/>
          <p:nvPr>
            <p:custDataLst>
              <p:tags r:id="rId17"/>
            </p:custDataLst>
          </p:nvPr>
        </p:nvSpPr>
        <p:spPr>
          <a:xfrm>
            <a:off x="8424545" y="2237740"/>
            <a:ext cx="1796415" cy="1780540"/>
          </a:xfrm>
          <a:prstGeom prst="rect">
            <a:avLst/>
          </a:prstGeom>
          <a:noFill/>
        </p:spPr>
        <p:txBody>
          <a:bodyPr wrap="square" lIns="0" tIns="0" rIns="0" bIns="0" rtlCol="0">
            <a:noAutofit/>
          </a:bodyPr>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1</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做好上线后运维支持，跟进优化点并开展用户培训；</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2</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调研客户后续需求，探索项目二期需求</a:t>
            </a:r>
            <a:r>
              <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rPr>
              <a:t>内容。</a:t>
            </a:r>
            <a:endParaRPr lang="zh-CN" altLang="en-US" sz="12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endParaRPr>
          </a:p>
        </p:txBody>
      </p:sp>
    </p:spTree>
    <p:custDataLst>
      <p:tags r:id="rId18"/>
    </p:custDataLst>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_1*i*1"/>
  <p:tag name="KSO_WM_UNIT_LAYERLEVEL" val="1"/>
  <p:tag name="KSO_WM_TAG_VERSION" val="3.0"/>
  <p:tag name="KSO_WM_BEAUTIFY_FLAG" val="#wm#"/>
</p:tagLst>
</file>

<file path=ppt/tags/tag10.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f"/>
  <p:tag name="KSO_WM_UNIT_INDEX" val="1"/>
  <p:tag name="KSO_WM_UNIT_ID" val="_2*f*1"/>
  <p:tag name="KSO_WM_UNIT_LAYERLEVEL" val="1"/>
  <p:tag name="KSO_WM_TAG_VERSION" val="3.0"/>
  <p:tag name="KSO_WM_BEAUTIFY_FLAG" val="#wm#"/>
  <p:tag name="KSO_WM_UNIT_PRESET_TEXT" val="单击此处编辑母版文本样式&#10;第二级&#10;第三级&#10;第四级&#10;第五级"/>
  <p:tag name="KSO_WM_UNIT_TEXT_LAYER_COUNT" val="1"/>
</p:tagLst>
</file>

<file path=ppt/tags/tag100.xml><?xml version="1.0" encoding="utf-8"?>
<p:tagLst xmlns:p="http://schemas.openxmlformats.org/presentationml/2006/main">
  <p:tag name="NAME" val="EmptyMoon"/>
</p:tagLst>
</file>

<file path=ppt/tags/tag101.xml><?xml version="1.0" encoding="utf-8"?>
<p:tagLst xmlns:p="http://schemas.openxmlformats.org/presentationml/2006/main">
  <p:tag name="ANGLE" val="1"/>
</p:tagLst>
</file>

<file path=ppt/tags/tag102.xml><?xml version="1.0" encoding="utf-8"?>
<p:tagLst xmlns:p="http://schemas.openxmlformats.org/presentationml/2006/main">
  <p:tag name="ANGLE" val="1"/>
</p:tagLst>
</file>

<file path=ppt/tags/tag103.xml><?xml version="1.0" encoding="utf-8"?>
<p:tagLst xmlns:p="http://schemas.openxmlformats.org/presentationml/2006/main">
  <p:tag name="NAME" val="QuaterMoon"/>
</p:tagLst>
</file>

<file path=ppt/tags/tag104.xml><?xml version="1.0" encoding="utf-8"?>
<p:tagLst xmlns:p="http://schemas.openxmlformats.org/presentationml/2006/main">
  <p:tag name="ANGLE" val="2"/>
</p:tagLst>
</file>

<file path=ppt/tags/tag105.xml><?xml version="1.0" encoding="utf-8"?>
<p:tagLst xmlns:p="http://schemas.openxmlformats.org/presentationml/2006/main">
  <p:tag name="ANGLE" val="2"/>
</p:tagLst>
</file>

<file path=ppt/tags/tag106.xml><?xml version="1.0" encoding="utf-8"?>
<p:tagLst xmlns:p="http://schemas.openxmlformats.org/presentationml/2006/main">
  <p:tag name="NAME" val="HalfMoon"/>
</p:tagLst>
</file>

<file path=ppt/tags/tag107.xml><?xml version="1.0" encoding="utf-8"?>
<p:tagLst xmlns:p="http://schemas.openxmlformats.org/presentationml/2006/main">
  <p:tag name="ANGLE" val="3"/>
</p:tagLst>
</file>

<file path=ppt/tags/tag108.xml><?xml version="1.0" encoding="utf-8"?>
<p:tagLst xmlns:p="http://schemas.openxmlformats.org/presentationml/2006/main">
  <p:tag name="ANGLE" val="3"/>
</p:tagLst>
</file>

<file path=ppt/tags/tag109.xml><?xml version="1.0" encoding="utf-8"?>
<p:tagLst xmlns:p="http://schemas.openxmlformats.org/presentationml/2006/main">
  <p:tag name="NAME" val="3QuaterMoon"/>
</p:tagLst>
</file>

<file path=ppt/tags/tag11.xml><?xml version="1.0" encoding="utf-8"?>
<p:tagLst xmlns:p="http://schemas.openxmlformats.org/presentationml/2006/main">
  <p:tag name="KSO_WM_UNIT_ISCONTENTSTITLE" val="0"/>
  <p:tag name="KSO_WM_UNIT_ISNUMDGMTITLE" val="0"/>
  <p:tag name="KSO_WM_UNIT_PRESET_TEXT" val="正文页-预设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2*a*1"/>
  <p:tag name="KSO_WM_UNIT_LAYERLEVEL" val="1"/>
  <p:tag name="KSO_WM_TAG_VERSION" val="3.0"/>
  <p:tag name="KSO_WM_BEAUTIFY_FLAG" val="#wm#"/>
  <p:tag name="KSO_WM_UNIT_CONTENT_GROUP_TYPE" val="titlestyle"/>
</p:tagLst>
</file>

<file path=ppt/tags/tag110.xml><?xml version="1.0" encoding="utf-8"?>
<p:tagLst xmlns:p="http://schemas.openxmlformats.org/presentationml/2006/main">
  <p:tag name="ANGLE" val="4"/>
</p:tagLst>
</file>

<file path=ppt/tags/tag111.xml><?xml version="1.0" encoding="utf-8"?>
<p:tagLst xmlns:p="http://schemas.openxmlformats.org/presentationml/2006/main">
  <p:tag name="ANGLE" val="4"/>
</p:tagLst>
</file>

<file path=ppt/tags/tag112.xml><?xml version="1.0" encoding="utf-8"?>
<p:tagLst xmlns:p="http://schemas.openxmlformats.org/presentationml/2006/main">
  <p:tag name="NAME" val="FullMoon"/>
</p:tagLst>
</file>

<file path=ppt/tags/tag113.xml><?xml version="1.0" encoding="utf-8"?>
<p:tagLst xmlns:p="http://schemas.openxmlformats.org/presentationml/2006/main">
  <p:tag name="ANGLE" val="5"/>
</p:tagLst>
</file>

<file path=ppt/tags/tag114.xml><?xml version="1.0" encoding="utf-8"?>
<p:tagLst xmlns:p="http://schemas.openxmlformats.org/presentationml/2006/main">
  <p:tag name="ANGLE" val="5"/>
</p:tagLst>
</file>

<file path=ppt/tags/tag115.xml><?xml version="1.0" encoding="utf-8"?>
<p:tagLst xmlns:p="http://schemas.openxmlformats.org/presentationml/2006/main">
  <p:tag name="THINKCELLSHAPEDONOTDELETE" val="thinkcellActiveDocDoNotDelete"/>
</p:tagLst>
</file>

<file path=ppt/tags/tag116.xml><?xml version="1.0" encoding="utf-8"?>
<p:tagLst xmlns:p="http://schemas.openxmlformats.org/presentationml/2006/main">
  <p:tag name="THINKCELLSHAPEDONOTDELETE" val="thinkcellActiveDocDoNotDelete"/>
</p:tagLst>
</file>

<file path=ppt/tags/tag117.xml><?xml version="1.0" encoding="utf-8"?>
<p:tagLst xmlns:p="http://schemas.openxmlformats.org/presentationml/2006/main">
  <p:tag name="THINKCELLSHAPEDONOTDELETE" val="thinkcellActiveDocDoNotDelete"/>
</p:tagLst>
</file>

<file path=ppt/tags/tag118.xml><?xml version="1.0" encoding="utf-8"?>
<p:tagLst xmlns:p="http://schemas.openxmlformats.org/presentationml/2006/main">
  <p:tag name="THINKCELLSHAPEDONOTDELETE" val="tEFjjKwKmteTkkbYM_UO1dQ"/>
</p:tagLst>
</file>

<file path=ppt/tags/tag119.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3.0"/>
  <p:tag name="KSO_WM_BEAUTIFY_FLAG" val="#wm#"/>
</p:tagLst>
</file>

<file path=ppt/tags/tag120.xml><?xml version="1.0" encoding="utf-8"?>
<p:tagLst xmlns:p="http://schemas.openxmlformats.org/presentationml/2006/main">
  <p:tag name="THINKCELLSHAPEDONOTDELETE" val="thinkcellActiveDocDoNotDelete"/>
</p:tagLst>
</file>

<file path=ppt/tags/tag121.xml><?xml version="1.0" encoding="utf-8"?>
<p:tagLst xmlns:p="http://schemas.openxmlformats.org/presentationml/2006/main">
  <p:tag name="THINKCELLSHAPEDONOTDELETE" val="tOhDw2KbPEcrz2HIm6dngDA"/>
</p:tagLst>
</file>

<file path=ppt/tags/tag122.xml><?xml version="1.0" encoding="utf-8"?>
<p:tagLst xmlns:p="http://schemas.openxmlformats.org/presentationml/2006/main">
  <p:tag name="THINKCELLSHAPEDONOTDELETE" val="thinkcellActiveDocDoNotDelete"/>
</p:tagLst>
</file>

<file path=ppt/tags/tag123.xml><?xml version="1.0" encoding="utf-8"?>
<p:tagLst xmlns:p="http://schemas.openxmlformats.org/presentationml/2006/main">
  <p:tag name="THINKCELLSHAPEDONOTDELETE" val="taR7JQoq12udzmYLgzAeWOg"/>
</p:tagLst>
</file>

<file path=ppt/tags/tag124.xml><?xml version="1.0" encoding="utf-8"?>
<p:tagLst xmlns:p="http://schemas.openxmlformats.org/presentationml/2006/main">
  <p:tag name="THINKCELLSHAPEDONOTDELETE" val="thinkcellActiveDocDoNotDelete"/>
</p:tagLst>
</file>

<file path=ppt/tags/tag125.xml><?xml version="1.0" encoding="utf-8"?>
<p:tagLst xmlns:p="http://schemas.openxmlformats.org/presentationml/2006/main">
  <p:tag name="THINKCELLSHAPEDONOTDELETE" val="tdwVxRLg8JN7T_AjFd2WF3Q"/>
</p:tagLst>
</file>

<file path=ppt/tags/tag126.xml><?xml version="1.0" encoding="utf-8"?>
<p:tagLst xmlns:p="http://schemas.openxmlformats.org/presentationml/2006/main">
  <p:tag name="THINKCELLSHAPEDONOTDELETE" val="thinkcellActiveDocDoNotDelete"/>
</p:tagLst>
</file>

<file path=ppt/tags/tag127.xml><?xml version="1.0" encoding="utf-8"?>
<p:tagLst xmlns:p="http://schemas.openxmlformats.org/presentationml/2006/main">
  <p:tag name="NAME" val="Moon"/>
</p:tagLst>
</file>

<file path=ppt/tags/tag128.xml><?xml version="1.0" encoding="utf-8"?>
<p:tagLst xmlns:p="http://schemas.openxmlformats.org/presentationml/2006/main">
  <p:tag name="NAME" val="MoonShape"/>
  <p:tag name="ANGLE" val="1"/>
</p:tagLst>
</file>

<file path=ppt/tags/tag129.xml><?xml version="1.0" encoding="utf-8"?>
<p:tagLst xmlns:p="http://schemas.openxmlformats.org/presentationml/2006/main">
  <p:tag name="NAME" val="MoonHalfShape"/>
  <p:tag name="ANGLE"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3.0"/>
  <p:tag name="KSO_WM_BEAUTIFY_FLAG" val="#wm#"/>
</p:tagLst>
</file>

<file path=ppt/tags/tag130.xml><?xml version="1.0" encoding="utf-8"?>
<p:tagLst xmlns:p="http://schemas.openxmlformats.org/presentationml/2006/main">
  <p:tag name="NAME" val="Moon"/>
</p:tagLst>
</file>

<file path=ppt/tags/tag131.xml><?xml version="1.0" encoding="utf-8"?>
<p:tagLst xmlns:p="http://schemas.openxmlformats.org/presentationml/2006/main">
  <p:tag name="NAME" val="MoonShape"/>
  <p:tag name="ANGLE" val="2"/>
</p:tagLst>
</file>

<file path=ppt/tags/tag132.xml><?xml version="1.0" encoding="utf-8"?>
<p:tagLst xmlns:p="http://schemas.openxmlformats.org/presentationml/2006/main">
  <p:tag name="NAME" val="MoonHalfShape"/>
  <p:tag name="ANGLE" val="2"/>
</p:tagLst>
</file>

<file path=ppt/tags/tag133.xml><?xml version="1.0" encoding="utf-8"?>
<p:tagLst xmlns:p="http://schemas.openxmlformats.org/presentationml/2006/main">
  <p:tag name="NAME" val="Moon"/>
</p:tagLst>
</file>

<file path=ppt/tags/tag134.xml><?xml version="1.0" encoding="utf-8"?>
<p:tagLst xmlns:p="http://schemas.openxmlformats.org/presentationml/2006/main">
  <p:tag name="NAME" val="MoonShape"/>
  <p:tag name="ANGLE" val="4"/>
</p:tagLst>
</file>

<file path=ppt/tags/tag135.xml><?xml version="1.0" encoding="utf-8"?>
<p:tagLst xmlns:p="http://schemas.openxmlformats.org/presentationml/2006/main">
  <p:tag name="NAME" val="MoonHalfShape"/>
  <p:tag name="ANGLE" val="4"/>
</p:tagLst>
</file>

<file path=ppt/tags/tag136.xml><?xml version="1.0" encoding="utf-8"?>
<p:tagLst xmlns:p="http://schemas.openxmlformats.org/presentationml/2006/main">
  <p:tag name="NAME" val="Moon"/>
</p:tagLst>
</file>

<file path=ppt/tags/tag137.xml><?xml version="1.0" encoding="utf-8"?>
<p:tagLst xmlns:p="http://schemas.openxmlformats.org/presentationml/2006/main">
  <p:tag name="NAME" val="MoonShape"/>
  <p:tag name="ANGLE" val="5"/>
</p:tagLst>
</file>

<file path=ppt/tags/tag138.xml><?xml version="1.0" encoding="utf-8"?>
<p:tagLst xmlns:p="http://schemas.openxmlformats.org/presentationml/2006/main">
  <p:tag name="NAME" val="MoonHalfShape"/>
  <p:tag name="ANGLE" val="5"/>
</p:tagLst>
</file>

<file path=ppt/tags/tag139.xml><?xml version="1.0" encoding="utf-8"?>
<p:tagLst xmlns:p="http://schemas.openxmlformats.org/presentationml/2006/main">
  <p:tag name="NAME" val="Moon"/>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3.0"/>
  <p:tag name="KSO_WM_BEAUTIFY_FLAG" val="#wm#"/>
</p:tagLst>
</file>

<file path=ppt/tags/tag140.xml><?xml version="1.0" encoding="utf-8"?>
<p:tagLst xmlns:p="http://schemas.openxmlformats.org/presentationml/2006/main">
  <p:tag name="NAME" val="MoonShape"/>
  <p:tag name="ANGLE" val="3"/>
</p:tagLst>
</file>

<file path=ppt/tags/tag141.xml><?xml version="1.0" encoding="utf-8"?>
<p:tagLst xmlns:p="http://schemas.openxmlformats.org/presentationml/2006/main">
  <p:tag name="NAME" val="MoonHalfShape"/>
  <p:tag name="ANGLE" val="4"/>
</p:tagLst>
</file>

<file path=ppt/tags/tag142.xml><?xml version="1.0" encoding="utf-8"?>
<p:tagLst xmlns:p="http://schemas.openxmlformats.org/presentationml/2006/main">
  <p:tag name="NAME" val="EmptyMoon"/>
</p:tagLst>
</file>

<file path=ppt/tags/tag143.xml><?xml version="1.0" encoding="utf-8"?>
<p:tagLst xmlns:p="http://schemas.openxmlformats.org/presentationml/2006/main">
  <p:tag name="ANGLE" val="1"/>
</p:tagLst>
</file>

<file path=ppt/tags/tag144.xml><?xml version="1.0" encoding="utf-8"?>
<p:tagLst xmlns:p="http://schemas.openxmlformats.org/presentationml/2006/main">
  <p:tag name="ANGLE" val="1"/>
</p:tagLst>
</file>

<file path=ppt/tags/tag145.xml><?xml version="1.0" encoding="utf-8"?>
<p:tagLst xmlns:p="http://schemas.openxmlformats.org/presentationml/2006/main">
  <p:tag name="NAME" val="QuaterMoon"/>
</p:tagLst>
</file>

<file path=ppt/tags/tag146.xml><?xml version="1.0" encoding="utf-8"?>
<p:tagLst xmlns:p="http://schemas.openxmlformats.org/presentationml/2006/main">
  <p:tag name="ANGLE" val="2"/>
</p:tagLst>
</file>

<file path=ppt/tags/tag147.xml><?xml version="1.0" encoding="utf-8"?>
<p:tagLst xmlns:p="http://schemas.openxmlformats.org/presentationml/2006/main">
  <p:tag name="ANGLE" val="2"/>
</p:tagLst>
</file>

<file path=ppt/tags/tag148.xml><?xml version="1.0" encoding="utf-8"?>
<p:tagLst xmlns:p="http://schemas.openxmlformats.org/presentationml/2006/main">
  <p:tag name="NAME" val="HalfMoon"/>
</p:tagLst>
</file>

<file path=ppt/tags/tag149.xml><?xml version="1.0" encoding="utf-8"?>
<p:tagLst xmlns:p="http://schemas.openxmlformats.org/presentationml/2006/main">
  <p:tag name="ANGLE" val="3"/>
</p:tagLst>
</file>

<file path=ppt/tags/tag15.xml><?xml version="1.0" encoding="utf-8"?>
<p:tagLst xmlns:p="http://schemas.openxmlformats.org/presentationml/2006/main">
  <p:tag name="KSO_WM_UNIT_ISCONTENTSTITLE" val="1"/>
  <p:tag name="KSO_WM_UNIT_ISNUMDGMTITLE" val="0"/>
  <p:tag name="KSO_WM_UNIT_NOCLEAR" val="0"/>
  <p:tag name="KSO_WM_UNIT_HIGHLIGHT" val="0"/>
  <p:tag name="KSO_WM_UNIT_COMPATIBLE" val="0"/>
  <p:tag name="KSO_WM_UNIT_DIAGRAM_ISNUMVISUAL" val="0"/>
  <p:tag name="KSO_WM_UNIT_DIAGRAM_ISREFERUNIT" val="0"/>
  <p:tag name="KSO_WM_UNIT_ID" val="_3*a*1"/>
  <p:tag name="KSO_WM_UNIT_LAYERLEVEL" val="1"/>
  <p:tag name="KSO_WM_TAG_VERSION" val="3.0"/>
  <p:tag name="KSO_WM_BEAUTIFY_FLAG" val="#wm#"/>
  <p:tag name="KSO_WM_UNIT_PRESET_TEXT" val="目录"/>
  <p:tag name="KSO_WM_UNIT_VALUE" val="4"/>
  <p:tag name="KSO_WM_UNIT_TYPE" val="a"/>
  <p:tag name="KSO_WM_UNIT_INDEX" val="1"/>
</p:tagLst>
</file>

<file path=ppt/tags/tag150.xml><?xml version="1.0" encoding="utf-8"?>
<p:tagLst xmlns:p="http://schemas.openxmlformats.org/presentationml/2006/main">
  <p:tag name="ANGLE" val="3"/>
</p:tagLst>
</file>

<file path=ppt/tags/tag151.xml><?xml version="1.0" encoding="utf-8"?>
<p:tagLst xmlns:p="http://schemas.openxmlformats.org/presentationml/2006/main">
  <p:tag name="NAME" val="3QuaterMoon"/>
</p:tagLst>
</file>

<file path=ppt/tags/tag152.xml><?xml version="1.0" encoding="utf-8"?>
<p:tagLst xmlns:p="http://schemas.openxmlformats.org/presentationml/2006/main">
  <p:tag name="ANGLE" val="4"/>
</p:tagLst>
</file>

<file path=ppt/tags/tag153.xml><?xml version="1.0" encoding="utf-8"?>
<p:tagLst xmlns:p="http://schemas.openxmlformats.org/presentationml/2006/main">
  <p:tag name="ANGLE" val="4"/>
</p:tagLst>
</file>

<file path=ppt/tags/tag154.xml><?xml version="1.0" encoding="utf-8"?>
<p:tagLst xmlns:p="http://schemas.openxmlformats.org/presentationml/2006/main">
  <p:tag name="NAME" val="FullMoon"/>
</p:tagLst>
</file>

<file path=ppt/tags/tag155.xml><?xml version="1.0" encoding="utf-8"?>
<p:tagLst xmlns:p="http://schemas.openxmlformats.org/presentationml/2006/main">
  <p:tag name="ANGLE" val="5"/>
</p:tagLst>
</file>

<file path=ppt/tags/tag156.xml><?xml version="1.0" encoding="utf-8"?>
<p:tagLst xmlns:p="http://schemas.openxmlformats.org/presentationml/2006/main">
  <p:tag name="ANGLE" val="5"/>
</p:tagLst>
</file>

<file path=ppt/tags/tag157.xml><?xml version="1.0" encoding="utf-8"?>
<p:tagLst xmlns:p="http://schemas.openxmlformats.org/presentationml/2006/main">
  <p:tag name="THINKCELLSHAPEDONOTDELETE" val="thinkcellActiveDocDoNotDelete"/>
</p:tagLst>
</file>

<file path=ppt/tags/tag158.xml><?xml version="1.0" encoding="utf-8"?>
<p:tagLst xmlns:p="http://schemas.openxmlformats.org/presentationml/2006/main">
  <p:tag name="THINKCELLSHAPEDONOTDELETE" val="thinkcellActiveDocDoNotDelete"/>
</p:tagLst>
</file>

<file path=ppt/tags/tag159.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Lst>
</file>

<file path=ppt/tags/tag160.xml><?xml version="1.0" encoding="utf-8"?>
<p:tagLst xmlns:p="http://schemas.openxmlformats.org/presentationml/2006/main">
  <p:tag name="THINKCELLSHAPEDONOTDELETE" val="tEFjjKwKmteTkkbYM_UO1dQ"/>
</p:tagLst>
</file>

<file path=ppt/tags/tag161.xml><?xml version="1.0" encoding="utf-8"?>
<p:tagLst xmlns:p="http://schemas.openxmlformats.org/presentationml/2006/main">
  <p:tag name="THINKCELLSHAPEDONOTDELETE" val="thinkcellActiveDocDoNotDelete"/>
</p:tagLst>
</file>

<file path=ppt/tags/tag162.xml><?xml version="1.0" encoding="utf-8"?>
<p:tagLst xmlns:p="http://schemas.openxmlformats.org/presentationml/2006/main">
  <p:tag name="THINKCELLSHAPEDONOTDELETE" val="thinkcellActiveDocDoNotDelete"/>
</p:tagLst>
</file>

<file path=ppt/tags/tag163.xml><?xml version="1.0" encoding="utf-8"?>
<p:tagLst xmlns:p="http://schemas.openxmlformats.org/presentationml/2006/main">
  <p:tag name="THINKCELLSHAPEDONOTDELETE" val="tOhDw2KbPEcrz2HIm6dngDA"/>
</p:tagLst>
</file>

<file path=ppt/tags/tag164.xml><?xml version="1.0" encoding="utf-8"?>
<p:tagLst xmlns:p="http://schemas.openxmlformats.org/presentationml/2006/main">
  <p:tag name="THINKCELLSHAPEDONOTDELETE" val="thinkcellActiveDocDoNotDelete"/>
</p:tagLst>
</file>

<file path=ppt/tags/tag165.xml><?xml version="1.0" encoding="utf-8"?>
<p:tagLst xmlns:p="http://schemas.openxmlformats.org/presentationml/2006/main">
  <p:tag name="THINKCELLSHAPEDONOTDELETE" val="taR7JQoq12udzmYLgzAeWOg"/>
</p:tagLst>
</file>

<file path=ppt/tags/tag166.xml><?xml version="1.0" encoding="utf-8"?>
<p:tagLst xmlns:p="http://schemas.openxmlformats.org/presentationml/2006/main">
  <p:tag name="THINKCELLSHAPEDONOTDELETE" val="thinkcellActiveDocDoNotDelete"/>
</p:tagLst>
</file>

<file path=ppt/tags/tag167.xml><?xml version="1.0" encoding="utf-8"?>
<p:tagLst xmlns:p="http://schemas.openxmlformats.org/presentationml/2006/main">
  <p:tag name="THINKCELLSHAPEDONOTDELETE" val="tdwVxRLg8JN7T_AjFd2WF3Q"/>
</p:tagLst>
</file>

<file path=ppt/tags/tag168.xml><?xml version="1.0" encoding="utf-8"?>
<p:tagLst xmlns:p="http://schemas.openxmlformats.org/presentationml/2006/main">
  <p:tag name="THINKCELLSHAPEDONOTDELETE" val="thinkcellActiveDocDoNotDelete"/>
</p:tagLst>
</file>

<file path=ppt/tags/tag169.xml><?xml version="1.0" encoding="utf-8"?>
<p:tagLst xmlns:p="http://schemas.openxmlformats.org/presentationml/2006/main">
  <p:tag name="NAME" val="Moon"/>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Lst>
</file>

<file path=ppt/tags/tag170.xml><?xml version="1.0" encoding="utf-8"?>
<p:tagLst xmlns:p="http://schemas.openxmlformats.org/presentationml/2006/main">
  <p:tag name="NAME" val="MoonShape"/>
  <p:tag name="ANGLE" val="1"/>
</p:tagLst>
</file>

<file path=ppt/tags/tag171.xml><?xml version="1.0" encoding="utf-8"?>
<p:tagLst xmlns:p="http://schemas.openxmlformats.org/presentationml/2006/main">
  <p:tag name="NAME" val="MoonHalfShape"/>
  <p:tag name="ANGLE" val="1"/>
</p:tagLst>
</file>

<file path=ppt/tags/tag172.xml><?xml version="1.0" encoding="utf-8"?>
<p:tagLst xmlns:p="http://schemas.openxmlformats.org/presentationml/2006/main">
  <p:tag name="NAME" val="Moon"/>
</p:tagLst>
</file>

<file path=ppt/tags/tag173.xml><?xml version="1.0" encoding="utf-8"?>
<p:tagLst xmlns:p="http://schemas.openxmlformats.org/presentationml/2006/main">
  <p:tag name="NAME" val="MoonShape"/>
  <p:tag name="ANGLE" val="2"/>
</p:tagLst>
</file>

<file path=ppt/tags/tag174.xml><?xml version="1.0" encoding="utf-8"?>
<p:tagLst xmlns:p="http://schemas.openxmlformats.org/presentationml/2006/main">
  <p:tag name="NAME" val="MoonHalfShape"/>
  <p:tag name="ANGLE" val="2"/>
</p:tagLst>
</file>

<file path=ppt/tags/tag175.xml><?xml version="1.0" encoding="utf-8"?>
<p:tagLst xmlns:p="http://schemas.openxmlformats.org/presentationml/2006/main">
  <p:tag name="NAME" val="Moon"/>
</p:tagLst>
</file>

<file path=ppt/tags/tag176.xml><?xml version="1.0" encoding="utf-8"?>
<p:tagLst xmlns:p="http://schemas.openxmlformats.org/presentationml/2006/main">
  <p:tag name="NAME" val="MoonShape"/>
  <p:tag name="ANGLE" val="4"/>
</p:tagLst>
</file>

<file path=ppt/tags/tag177.xml><?xml version="1.0" encoding="utf-8"?>
<p:tagLst xmlns:p="http://schemas.openxmlformats.org/presentationml/2006/main">
  <p:tag name="NAME" val="MoonHalfShape"/>
  <p:tag name="ANGLE" val="4"/>
</p:tagLst>
</file>

<file path=ppt/tags/tag178.xml><?xml version="1.0" encoding="utf-8"?>
<p:tagLst xmlns:p="http://schemas.openxmlformats.org/presentationml/2006/main">
  <p:tag name="NAME" val="Moon"/>
</p:tagLst>
</file>

<file path=ppt/tags/tag179.xml><?xml version="1.0" encoding="utf-8"?>
<p:tagLst xmlns:p="http://schemas.openxmlformats.org/presentationml/2006/main">
  <p:tag name="NAME" val="MoonShape"/>
  <p:tag name="ANGLE" val="5"/>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3.0"/>
  <p:tag name="KSO_WM_BEAUTIFY_FLAG" val="#wm#"/>
</p:tagLst>
</file>

<file path=ppt/tags/tag180.xml><?xml version="1.0" encoding="utf-8"?>
<p:tagLst xmlns:p="http://schemas.openxmlformats.org/presentationml/2006/main">
  <p:tag name="NAME" val="MoonHalfShape"/>
  <p:tag name="ANGLE" val="5"/>
</p:tagLst>
</file>

<file path=ppt/tags/tag181.xml><?xml version="1.0" encoding="utf-8"?>
<p:tagLst xmlns:p="http://schemas.openxmlformats.org/presentationml/2006/main">
  <p:tag name="NAME" val="Moon"/>
</p:tagLst>
</file>

<file path=ppt/tags/tag182.xml><?xml version="1.0" encoding="utf-8"?>
<p:tagLst xmlns:p="http://schemas.openxmlformats.org/presentationml/2006/main">
  <p:tag name="NAME" val="MoonShape"/>
  <p:tag name="ANGLE" val="3"/>
</p:tagLst>
</file>

<file path=ppt/tags/tag183.xml><?xml version="1.0" encoding="utf-8"?>
<p:tagLst xmlns:p="http://schemas.openxmlformats.org/presentationml/2006/main">
  <p:tag name="NAME" val="MoonHalfShape"/>
  <p:tag name="ANGLE" val="4"/>
</p:tagLst>
</file>

<file path=ppt/tags/tag184.xml><?xml version="1.0" encoding="utf-8"?>
<p:tagLst xmlns:p="http://schemas.openxmlformats.org/presentationml/2006/main">
  <p:tag name="NAME" val="EmptyMoon"/>
</p:tagLst>
</file>

<file path=ppt/tags/tag185.xml><?xml version="1.0" encoding="utf-8"?>
<p:tagLst xmlns:p="http://schemas.openxmlformats.org/presentationml/2006/main">
  <p:tag name="ANGLE" val="1"/>
</p:tagLst>
</file>

<file path=ppt/tags/tag186.xml><?xml version="1.0" encoding="utf-8"?>
<p:tagLst xmlns:p="http://schemas.openxmlformats.org/presentationml/2006/main">
  <p:tag name="ANGLE" val="1"/>
</p:tagLst>
</file>

<file path=ppt/tags/tag187.xml><?xml version="1.0" encoding="utf-8"?>
<p:tagLst xmlns:p="http://schemas.openxmlformats.org/presentationml/2006/main">
  <p:tag name="NAME" val="QuaterMoon"/>
</p:tagLst>
</file>

<file path=ppt/tags/tag188.xml><?xml version="1.0" encoding="utf-8"?>
<p:tagLst xmlns:p="http://schemas.openxmlformats.org/presentationml/2006/main">
  <p:tag name="ANGLE" val="2"/>
</p:tagLst>
</file>

<file path=ppt/tags/tag189.xml><?xml version="1.0" encoding="utf-8"?>
<p:tagLst xmlns:p="http://schemas.openxmlformats.org/presentationml/2006/main">
  <p:tag name="ANGLE" val="2"/>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i*2"/>
  <p:tag name="KSO_WM_UNIT_LAYERLEVEL" val="1"/>
  <p:tag name="KSO_WM_TAG_VERSION" val="3.0"/>
  <p:tag name="KSO_WM_BEAUTIFY_FLAG" val="#wm#"/>
  <p:tag name="KSO_WM_UNIT_TYPE" val="i"/>
  <p:tag name="KSO_WM_UNIT_INDEX" val="2"/>
</p:tagLst>
</file>

<file path=ppt/tags/tag190.xml><?xml version="1.0" encoding="utf-8"?>
<p:tagLst xmlns:p="http://schemas.openxmlformats.org/presentationml/2006/main">
  <p:tag name="NAME" val="HalfMoon"/>
</p:tagLst>
</file>

<file path=ppt/tags/tag191.xml><?xml version="1.0" encoding="utf-8"?>
<p:tagLst xmlns:p="http://schemas.openxmlformats.org/presentationml/2006/main">
  <p:tag name="ANGLE" val="3"/>
</p:tagLst>
</file>

<file path=ppt/tags/tag192.xml><?xml version="1.0" encoding="utf-8"?>
<p:tagLst xmlns:p="http://schemas.openxmlformats.org/presentationml/2006/main">
  <p:tag name="ANGLE" val="3"/>
</p:tagLst>
</file>

<file path=ppt/tags/tag193.xml><?xml version="1.0" encoding="utf-8"?>
<p:tagLst xmlns:p="http://schemas.openxmlformats.org/presentationml/2006/main">
  <p:tag name="NAME" val="3QuaterMoon"/>
</p:tagLst>
</file>

<file path=ppt/tags/tag194.xml><?xml version="1.0" encoding="utf-8"?>
<p:tagLst xmlns:p="http://schemas.openxmlformats.org/presentationml/2006/main">
  <p:tag name="ANGLE" val="4"/>
</p:tagLst>
</file>

<file path=ppt/tags/tag195.xml><?xml version="1.0" encoding="utf-8"?>
<p:tagLst xmlns:p="http://schemas.openxmlformats.org/presentationml/2006/main">
  <p:tag name="ANGLE" val="4"/>
</p:tagLst>
</file>

<file path=ppt/tags/tag196.xml><?xml version="1.0" encoding="utf-8"?>
<p:tagLst xmlns:p="http://schemas.openxmlformats.org/presentationml/2006/main">
  <p:tag name="NAME" val="FullMoon"/>
</p:tagLst>
</file>

<file path=ppt/tags/tag197.xml><?xml version="1.0" encoding="utf-8"?>
<p:tagLst xmlns:p="http://schemas.openxmlformats.org/presentationml/2006/main">
  <p:tag name="ANGLE" val="5"/>
</p:tagLst>
</file>

<file path=ppt/tags/tag198.xml><?xml version="1.0" encoding="utf-8"?>
<p:tagLst xmlns:p="http://schemas.openxmlformats.org/presentationml/2006/main">
  <p:tag name="ANGLE" val="5"/>
</p:tagLst>
</file>

<file path=ppt/tags/tag19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CONTENT_GROUP_TYPE" val="contentchip"/>
  <p:tag name="KSO_WM_UNIT_TYPE" val="i"/>
  <p:tag name="KSO_WM_UNIT_INDEX" val="2"/>
  <p:tag name="KSO_WM_UNIT_ID" val="_1*i*2"/>
  <p:tag name="KSO_WM_UNIT_LAYERLEVEL" val="1"/>
  <p:tag name="KSO_WM_TAG_VERSION" val="3.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i*1"/>
  <p:tag name="KSO_WM_UNIT_LAYERLEVEL" val="1"/>
  <p:tag name="KSO_WM_TAG_VERSION" val="3.0"/>
  <p:tag name="KSO_WM_BEAUTIFY_FLAG" val="#wm#"/>
  <p:tag name="KSO_WM_UNIT_TYPE" val="i"/>
  <p:tag name="KSO_WM_UNIT_INDEX" val="1"/>
</p:tagLst>
</file>

<file path=ppt/tags/tag200.xml><?xml version="1.0" encoding="utf-8"?>
<p:tagLst xmlns:p="http://schemas.openxmlformats.org/presentationml/2006/main">
  <p:tag name="THINKCELLSHAPEDONOTDELETE" val="thinkcellActiveDocDoNotDelete"/>
</p:tagLst>
</file>

<file path=ppt/tags/tag201.xml><?xml version="1.0" encoding="utf-8"?>
<p:tagLst xmlns:p="http://schemas.openxmlformats.org/presentationml/2006/main">
  <p:tag name="THINKCELLSHAPEDONOTDELETE" val="thinkcellActiveDocDoNotDelete"/>
</p:tagLst>
</file>

<file path=ppt/tags/tag202.xml><?xml version="1.0" encoding="utf-8"?>
<p:tagLst xmlns:p="http://schemas.openxmlformats.org/presentationml/2006/main">
  <p:tag name="THINKCELLSHAPEDONOTDELETE" val="tEFjjKwKmteTkkbYM_UO1dQ"/>
</p:tagLst>
</file>

<file path=ppt/tags/tag203.xml><?xml version="1.0" encoding="utf-8"?>
<p:tagLst xmlns:p="http://schemas.openxmlformats.org/presentationml/2006/main">
  <p:tag name="THINKCELLSHAPEDONOTDELETE" val="thinkcellActiveDocDoNotDelete"/>
</p:tagLst>
</file>

<file path=ppt/tags/tag204.xml><?xml version="1.0" encoding="utf-8"?>
<p:tagLst xmlns:p="http://schemas.openxmlformats.org/presentationml/2006/main">
  <p:tag name="THINKCELLSHAPEDONOTDELETE" val="thinkcellActiveDocDoNotDelete"/>
</p:tagLst>
</file>

<file path=ppt/tags/tag205.xml><?xml version="1.0" encoding="utf-8"?>
<p:tagLst xmlns:p="http://schemas.openxmlformats.org/presentationml/2006/main">
  <p:tag name="THINKCELLSHAPEDONOTDELETE" val="tOhDw2KbPEcrz2HIm6dngDA"/>
</p:tagLst>
</file>

<file path=ppt/tags/tag206.xml><?xml version="1.0" encoding="utf-8"?>
<p:tagLst xmlns:p="http://schemas.openxmlformats.org/presentationml/2006/main">
  <p:tag name="THINKCELLSHAPEDONOTDELETE" val="thinkcellActiveDocDoNotDelete"/>
</p:tagLst>
</file>

<file path=ppt/tags/tag207.xml><?xml version="1.0" encoding="utf-8"?>
<p:tagLst xmlns:p="http://schemas.openxmlformats.org/presentationml/2006/main">
  <p:tag name="THINKCELLSHAPEDONOTDELETE" val="taR7JQoq12udzmYLgzAeWOg"/>
</p:tagLst>
</file>

<file path=ppt/tags/tag208.xml><?xml version="1.0" encoding="utf-8"?>
<p:tagLst xmlns:p="http://schemas.openxmlformats.org/presentationml/2006/main">
  <p:tag name="THINKCELLSHAPEDONOTDELETE" val="thinkcellActiveDocDoNotDelete"/>
</p:tagLst>
</file>

<file path=ppt/tags/tag209.xml><?xml version="1.0" encoding="utf-8"?>
<p:tagLst xmlns:p="http://schemas.openxmlformats.org/presentationml/2006/main">
  <p:tag name="THINKCELLSHAPEDONOTDELETE" val="tdwVxRLg8JN7T_AjFd2WF3Q"/>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_4*i*2"/>
  <p:tag name="KSO_WM_UNIT_LAYERLEVEL" val="1"/>
  <p:tag name="KSO_WM_TAG_VERSION" val="3.0"/>
  <p:tag name="KSO_WM_BEAUTIFY_FLAG" val="#wm#"/>
  <p:tag name="KSO_WM_UNIT_CONTENT_GROUP_TYPE" val="contentchip"/>
</p:tagLst>
</file>

<file path=ppt/tags/tag210.xml><?xml version="1.0" encoding="utf-8"?>
<p:tagLst xmlns:p="http://schemas.openxmlformats.org/presentationml/2006/main">
  <p:tag name="THINKCELLSHAPEDONOTDELETE" val="thinkcellActiveDocDoNotDelete"/>
</p:tagLst>
</file>

<file path=ppt/tags/tag211.xml><?xml version="1.0" encoding="utf-8"?>
<p:tagLst xmlns:p="http://schemas.openxmlformats.org/presentationml/2006/main">
  <p:tag name="NAME" val="Moon"/>
</p:tagLst>
</file>

<file path=ppt/tags/tag212.xml><?xml version="1.0" encoding="utf-8"?>
<p:tagLst xmlns:p="http://schemas.openxmlformats.org/presentationml/2006/main">
  <p:tag name="NAME" val="MoonShape"/>
  <p:tag name="ANGLE" val="1"/>
</p:tagLst>
</file>

<file path=ppt/tags/tag213.xml><?xml version="1.0" encoding="utf-8"?>
<p:tagLst xmlns:p="http://schemas.openxmlformats.org/presentationml/2006/main">
  <p:tag name="NAME" val="MoonHalfShape"/>
  <p:tag name="ANGLE" val="1"/>
</p:tagLst>
</file>

<file path=ppt/tags/tag214.xml><?xml version="1.0" encoding="utf-8"?>
<p:tagLst xmlns:p="http://schemas.openxmlformats.org/presentationml/2006/main">
  <p:tag name="NAME" val="Moon"/>
</p:tagLst>
</file>

<file path=ppt/tags/tag215.xml><?xml version="1.0" encoding="utf-8"?>
<p:tagLst xmlns:p="http://schemas.openxmlformats.org/presentationml/2006/main">
  <p:tag name="NAME" val="MoonShape"/>
  <p:tag name="ANGLE" val="2"/>
</p:tagLst>
</file>

<file path=ppt/tags/tag216.xml><?xml version="1.0" encoding="utf-8"?>
<p:tagLst xmlns:p="http://schemas.openxmlformats.org/presentationml/2006/main">
  <p:tag name="NAME" val="MoonHalfShape"/>
  <p:tag name="ANGLE" val="2"/>
</p:tagLst>
</file>

<file path=ppt/tags/tag217.xml><?xml version="1.0" encoding="utf-8"?>
<p:tagLst xmlns:p="http://schemas.openxmlformats.org/presentationml/2006/main">
  <p:tag name="NAME" val="Moon"/>
</p:tagLst>
</file>

<file path=ppt/tags/tag218.xml><?xml version="1.0" encoding="utf-8"?>
<p:tagLst xmlns:p="http://schemas.openxmlformats.org/presentationml/2006/main">
  <p:tag name="NAME" val="MoonShape"/>
  <p:tag name="ANGLE" val="4"/>
</p:tagLst>
</file>

<file path=ppt/tags/tag219.xml><?xml version="1.0" encoding="utf-8"?>
<p:tagLst xmlns:p="http://schemas.openxmlformats.org/presentationml/2006/main">
  <p:tag name="NAME" val="MoonHalfShape"/>
  <p:tag name="ANGLE" val="4"/>
</p:tagLst>
</file>

<file path=ppt/tags/tag22.xml><?xml version="1.0" encoding="utf-8"?>
<p:tagLst xmlns:p="http://schemas.openxmlformats.org/presentationml/2006/main">
  <p:tag name="KSO_WM_UNIT_ISCONTENTSTITLE" val="0"/>
  <p:tag name="KSO_WM_UNIT_ISNUMDGMTITLE" val="0"/>
  <p:tag name="KSO_WM_UNIT_PRESET_TEXT" val="添加章节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4*a*1"/>
  <p:tag name="KSO_WM_UNIT_LAYERLEVEL" val="1"/>
  <p:tag name="KSO_WM_TAG_VERSION" val="3.0"/>
  <p:tag name="KSO_WM_BEAUTIFY_FLAG" val="#wm#"/>
  <p:tag name="KSO_WM_UNIT_TEXT_FILL_FORE_SCHEMECOLOR_INDEX_BRIGHTNESS" val="0"/>
  <p:tag name="KSO_WM_UNIT_TEXT_FILL_FORE_SCHEMECOLOR_INDEX" val="5"/>
  <p:tag name="KSO_WM_UNIT_TEXT_FILL_TYPE" val="1"/>
  <p:tag name="KSO_WM_UNIT_CONTENT_GROUP_TYPE" val="contentchip"/>
</p:tagLst>
</file>

<file path=ppt/tags/tag220.xml><?xml version="1.0" encoding="utf-8"?>
<p:tagLst xmlns:p="http://schemas.openxmlformats.org/presentationml/2006/main">
  <p:tag name="NAME" val="Moon"/>
</p:tagLst>
</file>

<file path=ppt/tags/tag221.xml><?xml version="1.0" encoding="utf-8"?>
<p:tagLst xmlns:p="http://schemas.openxmlformats.org/presentationml/2006/main">
  <p:tag name="NAME" val="MoonShape"/>
  <p:tag name="ANGLE" val="5"/>
</p:tagLst>
</file>

<file path=ppt/tags/tag222.xml><?xml version="1.0" encoding="utf-8"?>
<p:tagLst xmlns:p="http://schemas.openxmlformats.org/presentationml/2006/main">
  <p:tag name="NAME" val="MoonHalfShape"/>
  <p:tag name="ANGLE" val="5"/>
</p:tagLst>
</file>

<file path=ppt/tags/tag223.xml><?xml version="1.0" encoding="utf-8"?>
<p:tagLst xmlns:p="http://schemas.openxmlformats.org/presentationml/2006/main">
  <p:tag name="NAME" val="Moon"/>
</p:tagLst>
</file>

<file path=ppt/tags/tag224.xml><?xml version="1.0" encoding="utf-8"?>
<p:tagLst xmlns:p="http://schemas.openxmlformats.org/presentationml/2006/main">
  <p:tag name="NAME" val="MoonShape"/>
  <p:tag name="ANGLE" val="3"/>
</p:tagLst>
</file>

<file path=ppt/tags/tag225.xml><?xml version="1.0" encoding="utf-8"?>
<p:tagLst xmlns:p="http://schemas.openxmlformats.org/presentationml/2006/main">
  <p:tag name="NAME" val="MoonHalfShape"/>
  <p:tag name="ANGLE" val="4"/>
</p:tagLst>
</file>

<file path=ppt/tags/tag226.xml><?xml version="1.0" encoding="utf-8"?>
<p:tagLst xmlns:p="http://schemas.openxmlformats.org/presentationml/2006/main">
  <p:tag name="NAME" val="EmptyMoon"/>
</p:tagLst>
</file>

<file path=ppt/tags/tag227.xml><?xml version="1.0" encoding="utf-8"?>
<p:tagLst xmlns:p="http://schemas.openxmlformats.org/presentationml/2006/main">
  <p:tag name="ANGLE" val="1"/>
</p:tagLst>
</file>

<file path=ppt/tags/tag228.xml><?xml version="1.0" encoding="utf-8"?>
<p:tagLst xmlns:p="http://schemas.openxmlformats.org/presentationml/2006/main">
  <p:tag name="ANGLE" val="1"/>
</p:tagLst>
</file>

<file path=ppt/tags/tag229.xml><?xml version="1.0" encoding="utf-8"?>
<p:tagLst xmlns:p="http://schemas.openxmlformats.org/presentationml/2006/main">
  <p:tag name="NAME" val="QuaterMoon"/>
</p:tagLst>
</file>

<file path=ppt/tags/tag23.xml><?xml version="1.0" encoding="utf-8"?>
<p:tagLst xmlns:p="http://schemas.openxmlformats.org/presentationml/2006/main">
  <p:tag name="KSO_WM_UNIT_PRESET_TEXT" val="Part One"/>
  <p:tag name="KSO_WM_UNIT_NOCLEAR" val="0"/>
  <p:tag name="KSO_WM_UNIT_VALUE" val="6"/>
  <p:tag name="KSO_WM_UNIT_HIGHLIGHT" val="0"/>
  <p:tag name="KSO_WM_UNIT_COMPATIBLE" val="1"/>
  <p:tag name="KSO_WM_UNIT_DIAGRAM_ISNUMVISUAL" val="0"/>
  <p:tag name="KSO_WM_UNIT_DIAGRAM_ISREFERUNIT" val="0"/>
  <p:tag name="KSO_WM_UNIT_TYPE" val="e"/>
  <p:tag name="KSO_WM_UNIT_INDEX" val="1"/>
  <p:tag name="KSO_WM_UNIT_ID" val="_4*e*1"/>
  <p:tag name="KSO_WM_UNIT_LAYERLEVEL" val="1"/>
  <p:tag name="KSO_WM_TAG_VERSION" val="3.0"/>
  <p:tag name="KSO_WM_BEAUTIFY_FLAG" val="#wm#"/>
  <p:tag name="KSO_WM_UNIT_CONTENT_GROUP_TYPE" val="contentchip"/>
</p:tagLst>
</file>

<file path=ppt/tags/tag230.xml><?xml version="1.0" encoding="utf-8"?>
<p:tagLst xmlns:p="http://schemas.openxmlformats.org/presentationml/2006/main">
  <p:tag name="ANGLE" val="2"/>
</p:tagLst>
</file>

<file path=ppt/tags/tag231.xml><?xml version="1.0" encoding="utf-8"?>
<p:tagLst xmlns:p="http://schemas.openxmlformats.org/presentationml/2006/main">
  <p:tag name="ANGLE" val="2"/>
</p:tagLst>
</file>

<file path=ppt/tags/tag232.xml><?xml version="1.0" encoding="utf-8"?>
<p:tagLst xmlns:p="http://schemas.openxmlformats.org/presentationml/2006/main">
  <p:tag name="NAME" val="HalfMoon"/>
</p:tagLst>
</file>

<file path=ppt/tags/tag233.xml><?xml version="1.0" encoding="utf-8"?>
<p:tagLst xmlns:p="http://schemas.openxmlformats.org/presentationml/2006/main">
  <p:tag name="ANGLE" val="3"/>
</p:tagLst>
</file>

<file path=ppt/tags/tag234.xml><?xml version="1.0" encoding="utf-8"?>
<p:tagLst xmlns:p="http://schemas.openxmlformats.org/presentationml/2006/main">
  <p:tag name="ANGLE" val="3"/>
</p:tagLst>
</file>

<file path=ppt/tags/tag235.xml><?xml version="1.0" encoding="utf-8"?>
<p:tagLst xmlns:p="http://schemas.openxmlformats.org/presentationml/2006/main">
  <p:tag name="NAME" val="3QuaterMoon"/>
</p:tagLst>
</file>

<file path=ppt/tags/tag236.xml><?xml version="1.0" encoding="utf-8"?>
<p:tagLst xmlns:p="http://schemas.openxmlformats.org/presentationml/2006/main">
  <p:tag name="ANGLE" val="4"/>
</p:tagLst>
</file>

<file path=ppt/tags/tag237.xml><?xml version="1.0" encoding="utf-8"?>
<p:tagLst xmlns:p="http://schemas.openxmlformats.org/presentationml/2006/main">
  <p:tag name="ANGLE" val="4"/>
</p:tagLst>
</file>

<file path=ppt/tags/tag238.xml><?xml version="1.0" encoding="utf-8"?>
<p:tagLst xmlns:p="http://schemas.openxmlformats.org/presentationml/2006/main">
  <p:tag name="NAME" val="FullMoon"/>
</p:tagLst>
</file>

<file path=ppt/tags/tag239.xml><?xml version="1.0" encoding="utf-8"?>
<p:tagLst xmlns:p="http://schemas.openxmlformats.org/presentationml/2006/main">
  <p:tag name="ANGLE" val="5"/>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Lst>
</file>

<file path=ppt/tags/tag240.xml><?xml version="1.0" encoding="utf-8"?>
<p:tagLst xmlns:p="http://schemas.openxmlformats.org/presentationml/2006/main">
  <p:tag name="ANGLE" val="5"/>
</p:tagLst>
</file>

<file path=ppt/tags/tag241.xml><?xml version="1.0" encoding="utf-8"?>
<p:tagLst xmlns:p="http://schemas.openxmlformats.org/presentationml/2006/main">
  <p:tag name="THINKCELLSHAPEDONOTDELETE" val="thinkcellActiveDocDoNotDelete"/>
</p:tagLst>
</file>

<file path=ppt/tags/tag242.xml><?xml version="1.0" encoding="utf-8"?>
<p:tagLst xmlns:p="http://schemas.openxmlformats.org/presentationml/2006/main">
  <p:tag name="THINKCELLSHAPEDONOTDELETE" val="thinkcellActiveDocDoNotDelete"/>
</p:tagLst>
</file>

<file path=ppt/tags/tag243.xml><?xml version="1.0" encoding="utf-8"?>
<p:tagLst xmlns:p="http://schemas.openxmlformats.org/presentationml/2006/main">
  <p:tag name="THINKCELLSHAPEDONOTDELETE" val="thinkcellActiveDocDoNotDelete"/>
</p:tagLst>
</file>

<file path=ppt/tags/tag244.xml><?xml version="1.0" encoding="utf-8"?>
<p:tagLst xmlns:p="http://schemas.openxmlformats.org/presentationml/2006/main">
  <p:tag name="THINKCELLSHAPEDONOTDELETE" val="tEFjjKwKmteTkkbYM_UO1dQ"/>
</p:tagLst>
</file>

<file path=ppt/tags/tag245.xml><?xml version="1.0" encoding="utf-8"?>
<p:tagLst xmlns:p="http://schemas.openxmlformats.org/presentationml/2006/main">
  <p:tag name="THINKCELLSHAPEDONOTDELETE" val="thinkcellActiveDocDoNotDelete"/>
</p:tagLst>
</file>

<file path=ppt/tags/tag246.xml><?xml version="1.0" encoding="utf-8"?>
<p:tagLst xmlns:p="http://schemas.openxmlformats.org/presentationml/2006/main">
  <p:tag name="THINKCELLSHAPEDONOTDELETE" val="thinkcellActiveDocDoNotDelete"/>
</p:tagLst>
</file>

<file path=ppt/tags/tag247.xml><?xml version="1.0" encoding="utf-8"?>
<p:tagLst xmlns:p="http://schemas.openxmlformats.org/presentationml/2006/main">
  <p:tag name="THINKCELLSHAPEDONOTDELETE" val="tOhDw2KbPEcrz2HIm6dngDA"/>
</p:tagLst>
</file>

<file path=ppt/tags/tag248.xml><?xml version="1.0" encoding="utf-8"?>
<p:tagLst xmlns:p="http://schemas.openxmlformats.org/presentationml/2006/main">
  <p:tag name="THINKCELLSHAPEDONOTDELETE" val="thinkcellActiveDocDoNotDelete"/>
</p:tagLst>
</file>

<file path=ppt/tags/tag249.xml><?xml version="1.0" encoding="utf-8"?>
<p:tagLst xmlns:p="http://schemas.openxmlformats.org/presentationml/2006/main">
  <p:tag name="THINKCELLSHAPEDONOTDELETE" val="taR7JQoq12udzmYLgzAeWOg"/>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Lst>
</file>

<file path=ppt/tags/tag250.xml><?xml version="1.0" encoding="utf-8"?>
<p:tagLst xmlns:p="http://schemas.openxmlformats.org/presentationml/2006/main">
  <p:tag name="THINKCELLSHAPEDONOTDELETE" val="thinkcellActiveDocDoNotDelete"/>
</p:tagLst>
</file>

<file path=ppt/tags/tag251.xml><?xml version="1.0" encoding="utf-8"?>
<p:tagLst xmlns:p="http://schemas.openxmlformats.org/presentationml/2006/main">
  <p:tag name="THINKCELLSHAPEDONOTDELETE" val="tdwVxRLg8JN7T_AjFd2WF3Q"/>
</p:tagLst>
</file>

<file path=ppt/tags/tag252.xml><?xml version="1.0" encoding="utf-8"?>
<p:tagLst xmlns:p="http://schemas.openxmlformats.org/presentationml/2006/main">
  <p:tag name="THINKCELLSHAPEDONOTDELETE" val="thinkcellActiveDocDoNotDelete"/>
</p:tagLst>
</file>

<file path=ppt/tags/tag253.xml><?xml version="1.0" encoding="utf-8"?>
<p:tagLst xmlns:p="http://schemas.openxmlformats.org/presentationml/2006/main">
  <p:tag name="THINKCELLSHAPEDONOTDELETE" val="thinkcellActiveDocDoNotDelete"/>
</p:tagLst>
</file>

<file path=ppt/tags/tag254.xml><?xml version="1.0" encoding="utf-8"?>
<p:tagLst xmlns:p="http://schemas.openxmlformats.org/presentationml/2006/main">
  <p:tag name="NAME" val="Moon"/>
</p:tagLst>
</file>

<file path=ppt/tags/tag255.xml><?xml version="1.0" encoding="utf-8"?>
<p:tagLst xmlns:p="http://schemas.openxmlformats.org/presentationml/2006/main">
  <p:tag name="NAME" val="MoonShape"/>
  <p:tag name="ANGLE" val="1"/>
</p:tagLst>
</file>

<file path=ppt/tags/tag256.xml><?xml version="1.0" encoding="utf-8"?>
<p:tagLst xmlns:p="http://schemas.openxmlformats.org/presentationml/2006/main">
  <p:tag name="NAME" val="MoonHalfShape"/>
  <p:tag name="ANGLE" val="1"/>
</p:tagLst>
</file>

<file path=ppt/tags/tag257.xml><?xml version="1.0" encoding="utf-8"?>
<p:tagLst xmlns:p="http://schemas.openxmlformats.org/presentationml/2006/main">
  <p:tag name="NAME" val="Moon"/>
</p:tagLst>
</file>

<file path=ppt/tags/tag258.xml><?xml version="1.0" encoding="utf-8"?>
<p:tagLst xmlns:p="http://schemas.openxmlformats.org/presentationml/2006/main">
  <p:tag name="NAME" val="MoonShape"/>
  <p:tag name="ANGLE" val="2"/>
</p:tagLst>
</file>

<file path=ppt/tags/tag259.xml><?xml version="1.0" encoding="utf-8"?>
<p:tagLst xmlns:p="http://schemas.openxmlformats.org/presentationml/2006/main">
  <p:tag name="NAME" val="MoonHalfShape"/>
  <p:tag name="ANGLE" val="2"/>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3.0"/>
  <p:tag name="KSO_WM_BEAUTIFY_FLAG" val="#wm#"/>
</p:tagLst>
</file>

<file path=ppt/tags/tag260.xml><?xml version="1.0" encoding="utf-8"?>
<p:tagLst xmlns:p="http://schemas.openxmlformats.org/presentationml/2006/main">
  <p:tag name="NAME" val="Moon"/>
</p:tagLst>
</file>

<file path=ppt/tags/tag261.xml><?xml version="1.0" encoding="utf-8"?>
<p:tagLst xmlns:p="http://schemas.openxmlformats.org/presentationml/2006/main">
  <p:tag name="NAME" val="MoonShape"/>
  <p:tag name="ANGLE" val="4"/>
</p:tagLst>
</file>

<file path=ppt/tags/tag262.xml><?xml version="1.0" encoding="utf-8"?>
<p:tagLst xmlns:p="http://schemas.openxmlformats.org/presentationml/2006/main">
  <p:tag name="NAME" val="MoonHalfShape"/>
  <p:tag name="ANGLE" val="4"/>
</p:tagLst>
</file>

<file path=ppt/tags/tag263.xml><?xml version="1.0" encoding="utf-8"?>
<p:tagLst xmlns:p="http://schemas.openxmlformats.org/presentationml/2006/main">
  <p:tag name="NAME" val="Moon"/>
</p:tagLst>
</file>

<file path=ppt/tags/tag264.xml><?xml version="1.0" encoding="utf-8"?>
<p:tagLst xmlns:p="http://schemas.openxmlformats.org/presentationml/2006/main">
  <p:tag name="NAME" val="MoonShape"/>
  <p:tag name="ANGLE" val="5"/>
</p:tagLst>
</file>

<file path=ppt/tags/tag265.xml><?xml version="1.0" encoding="utf-8"?>
<p:tagLst xmlns:p="http://schemas.openxmlformats.org/presentationml/2006/main">
  <p:tag name="NAME" val="MoonHalfShape"/>
  <p:tag name="ANGLE" val="5"/>
</p:tagLst>
</file>

<file path=ppt/tags/tag266.xml><?xml version="1.0" encoding="utf-8"?>
<p:tagLst xmlns:p="http://schemas.openxmlformats.org/presentationml/2006/main">
  <p:tag name="NAME" val="Moon"/>
</p:tagLst>
</file>

<file path=ppt/tags/tag267.xml><?xml version="1.0" encoding="utf-8"?>
<p:tagLst xmlns:p="http://schemas.openxmlformats.org/presentationml/2006/main">
  <p:tag name="NAME" val="MoonShape"/>
  <p:tag name="ANGLE" val="3"/>
</p:tagLst>
</file>

<file path=ppt/tags/tag268.xml><?xml version="1.0" encoding="utf-8"?>
<p:tagLst xmlns:p="http://schemas.openxmlformats.org/presentationml/2006/main">
  <p:tag name="NAME" val="MoonHalfShape"/>
  <p:tag name="ANGLE" val="4"/>
</p:tagLst>
</file>

<file path=ppt/tags/tag269.xml><?xml version="1.0" encoding="utf-8"?>
<p:tagLst xmlns:p="http://schemas.openxmlformats.org/presentationml/2006/main">
  <p:tag name="NAME" val="EmptyMoon"/>
</p:tagLst>
</file>

<file path=ppt/tags/tag27.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f"/>
  <p:tag name="KSO_WM_UNIT_INDEX" val="1"/>
  <p:tag name="KSO_WM_UNIT_ID" val="_5*f*1"/>
  <p:tag name="KSO_WM_UNIT_LAYERLEVEL" val="1"/>
  <p:tag name="KSO_WM_TAG_VERSION" val="3.0"/>
  <p:tag name="KSO_WM_BEAUTIFY_FLAG" val="#wm#"/>
  <p:tag name="KSO_WM_UNIT_PRESET_TEXT" val="单击此处编辑母版文本样式&#10;第二级&#10;第三级&#10;第四级&#10;第五级"/>
  <p:tag name="KSO_WM_UNIT_TEXT_LAYER_COUNT" val="1"/>
</p:tagLst>
</file>

<file path=ppt/tags/tag270.xml><?xml version="1.0" encoding="utf-8"?>
<p:tagLst xmlns:p="http://schemas.openxmlformats.org/presentationml/2006/main">
  <p:tag name="ANGLE" val="1"/>
</p:tagLst>
</file>

<file path=ppt/tags/tag271.xml><?xml version="1.0" encoding="utf-8"?>
<p:tagLst xmlns:p="http://schemas.openxmlformats.org/presentationml/2006/main">
  <p:tag name="ANGLE" val="1"/>
</p:tagLst>
</file>

<file path=ppt/tags/tag272.xml><?xml version="1.0" encoding="utf-8"?>
<p:tagLst xmlns:p="http://schemas.openxmlformats.org/presentationml/2006/main">
  <p:tag name="NAME" val="QuaterMoon"/>
</p:tagLst>
</file>

<file path=ppt/tags/tag273.xml><?xml version="1.0" encoding="utf-8"?>
<p:tagLst xmlns:p="http://schemas.openxmlformats.org/presentationml/2006/main">
  <p:tag name="ANGLE" val="2"/>
</p:tagLst>
</file>

<file path=ppt/tags/tag274.xml><?xml version="1.0" encoding="utf-8"?>
<p:tagLst xmlns:p="http://schemas.openxmlformats.org/presentationml/2006/main">
  <p:tag name="ANGLE" val="2"/>
</p:tagLst>
</file>

<file path=ppt/tags/tag275.xml><?xml version="1.0" encoding="utf-8"?>
<p:tagLst xmlns:p="http://schemas.openxmlformats.org/presentationml/2006/main">
  <p:tag name="NAME" val="HalfMoon"/>
</p:tagLst>
</file>

<file path=ppt/tags/tag276.xml><?xml version="1.0" encoding="utf-8"?>
<p:tagLst xmlns:p="http://schemas.openxmlformats.org/presentationml/2006/main">
  <p:tag name="ANGLE" val="3"/>
</p:tagLst>
</file>

<file path=ppt/tags/tag277.xml><?xml version="1.0" encoding="utf-8"?>
<p:tagLst xmlns:p="http://schemas.openxmlformats.org/presentationml/2006/main">
  <p:tag name="ANGLE" val="3"/>
</p:tagLst>
</file>

<file path=ppt/tags/tag278.xml><?xml version="1.0" encoding="utf-8"?>
<p:tagLst xmlns:p="http://schemas.openxmlformats.org/presentationml/2006/main">
  <p:tag name="NAME" val="3QuaterMoon"/>
</p:tagLst>
</file>

<file path=ppt/tags/tag279.xml><?xml version="1.0" encoding="utf-8"?>
<p:tagLst xmlns:p="http://schemas.openxmlformats.org/presentationml/2006/main">
  <p:tag name="ANGLE" val="4"/>
</p:tagLst>
</file>

<file path=ppt/tags/tag28.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f"/>
  <p:tag name="KSO_WM_UNIT_INDEX" val="2"/>
  <p:tag name="KSO_WM_UNIT_ID" val="_5*f*2"/>
  <p:tag name="KSO_WM_UNIT_LAYERLEVEL" val="1"/>
  <p:tag name="KSO_WM_TAG_VERSION" val="3.0"/>
  <p:tag name="KSO_WM_BEAUTIFY_FLAG" val="#wm#"/>
  <p:tag name="KSO_WM_UNIT_PRESET_TEXT" val="单击此处编辑母版文本样式&#10;第二级&#10;第三级&#10;第四级&#10;第五级"/>
  <p:tag name="KSO_WM_UNIT_TEXT_LAYER_COUNT" val="1"/>
</p:tagLst>
</file>

<file path=ppt/tags/tag280.xml><?xml version="1.0" encoding="utf-8"?>
<p:tagLst xmlns:p="http://schemas.openxmlformats.org/presentationml/2006/main">
  <p:tag name="ANGLE" val="4"/>
</p:tagLst>
</file>

<file path=ppt/tags/tag281.xml><?xml version="1.0" encoding="utf-8"?>
<p:tagLst xmlns:p="http://schemas.openxmlformats.org/presentationml/2006/main">
  <p:tag name="NAME" val="FullMoon"/>
</p:tagLst>
</file>

<file path=ppt/tags/tag282.xml><?xml version="1.0" encoding="utf-8"?>
<p:tagLst xmlns:p="http://schemas.openxmlformats.org/presentationml/2006/main">
  <p:tag name="ANGLE" val="5"/>
</p:tagLst>
</file>

<file path=ppt/tags/tag283.xml><?xml version="1.0" encoding="utf-8"?>
<p:tagLst xmlns:p="http://schemas.openxmlformats.org/presentationml/2006/main">
  <p:tag name="ANGLE" val="5"/>
</p:tagLst>
</file>

<file path=ppt/tags/tag284.xml><?xml version="1.0" encoding="utf-8"?>
<p:tagLst xmlns:p="http://schemas.openxmlformats.org/presentationml/2006/main">
  <p:tag name="THINKCELLSHAPEDONOTDELETE" val="thinkcellActiveDocDoNotDelete"/>
</p:tagLst>
</file>

<file path=ppt/tags/tag285.xml><?xml version="1.0" encoding="utf-8"?>
<p:tagLst xmlns:p="http://schemas.openxmlformats.org/presentationml/2006/main">
  <p:tag name="THINKCELLSHAPEDONOTDELETE" val="thinkcellActiveDocDoNotDelete"/>
</p:tagLst>
</file>

<file path=ppt/tags/tag286.xml><?xml version="1.0" encoding="utf-8"?>
<p:tagLst xmlns:p="http://schemas.openxmlformats.org/presentationml/2006/main">
  <p:tag name="THINKCELLSHAPEDONOTDELETE" val="thinkcellActiveDocDoNotDelete"/>
</p:tagLst>
</file>

<file path=ppt/tags/tag287.xml><?xml version="1.0" encoding="utf-8"?>
<p:tagLst xmlns:p="http://schemas.openxmlformats.org/presentationml/2006/main">
  <p:tag name="THINKCELLSHAPEDONOTDELETE" val="tEFjjKwKmteTkkbYM_UO1dQ"/>
</p:tagLst>
</file>

<file path=ppt/tags/tag288.xml><?xml version="1.0" encoding="utf-8"?>
<p:tagLst xmlns:p="http://schemas.openxmlformats.org/presentationml/2006/main">
  <p:tag name="THINKCELLSHAPEDONOTDELETE" val="thinkcellActiveDocDoNotDelete"/>
</p:tagLst>
</file>

<file path=ppt/tags/tag289.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KSO_WM_UNIT_ISCONTENTSTITLE" val="0"/>
  <p:tag name="KSO_WM_UNIT_ISNUMDGMTITLE" val="0"/>
  <p:tag name="KSO_WM_UNIT_PRESET_TEXT" val="正文页-预设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5*a*1"/>
  <p:tag name="KSO_WM_UNIT_LAYERLEVEL" val="1"/>
  <p:tag name="KSO_WM_TAG_VERSION" val="3.0"/>
  <p:tag name="KSO_WM_BEAUTIFY_FLAG" val="#wm#"/>
  <p:tag name="KSO_WM_UNIT_CONTENT_GROUP_TYPE" val="titlestyle"/>
</p:tagLst>
</file>

<file path=ppt/tags/tag290.xml><?xml version="1.0" encoding="utf-8"?>
<p:tagLst xmlns:p="http://schemas.openxmlformats.org/presentationml/2006/main">
  <p:tag name="THINKCELLSHAPEDONOTDELETE" val="tOhDw2KbPEcrz2HIm6dngDA"/>
</p:tagLst>
</file>

<file path=ppt/tags/tag291.xml><?xml version="1.0" encoding="utf-8"?>
<p:tagLst xmlns:p="http://schemas.openxmlformats.org/presentationml/2006/main">
  <p:tag name="THINKCELLSHAPEDONOTDELETE" val="thinkcellActiveDocDoNotDelete"/>
</p:tagLst>
</file>

<file path=ppt/tags/tag292.xml><?xml version="1.0" encoding="utf-8"?>
<p:tagLst xmlns:p="http://schemas.openxmlformats.org/presentationml/2006/main">
  <p:tag name="THINKCELLSHAPEDONOTDELETE" val="taR7JQoq12udzmYLgzAeWOg"/>
</p:tagLst>
</file>

<file path=ppt/tags/tag293.xml><?xml version="1.0" encoding="utf-8"?>
<p:tagLst xmlns:p="http://schemas.openxmlformats.org/presentationml/2006/main">
  <p:tag name="THINKCELLSHAPEDONOTDELETE" val="thinkcellActiveDocDoNotDelete"/>
</p:tagLst>
</file>

<file path=ppt/tags/tag294.xml><?xml version="1.0" encoding="utf-8"?>
<p:tagLst xmlns:p="http://schemas.openxmlformats.org/presentationml/2006/main">
  <p:tag name="THINKCELLSHAPEDONOTDELETE" val="tdwVxRLg8JN7T_AjFd2WF3Q"/>
</p:tagLst>
</file>

<file path=ppt/tags/tag295.xml><?xml version="1.0" encoding="utf-8"?>
<p:tagLst xmlns:p="http://schemas.openxmlformats.org/presentationml/2006/main">
  <p:tag name="THINKCELLSHAPEDONOTDELETE" val="thinkcellActiveDocDoNotDelete"/>
</p:tagLst>
</file>

<file path=ppt/tags/tag296.xml><?xml version="1.0" encoding="utf-8"?>
<p:tagLst xmlns:p="http://schemas.openxmlformats.org/presentationml/2006/main">
  <p:tag name="NAME" val="Moon"/>
</p:tagLst>
</file>

<file path=ppt/tags/tag297.xml><?xml version="1.0" encoding="utf-8"?>
<p:tagLst xmlns:p="http://schemas.openxmlformats.org/presentationml/2006/main">
  <p:tag name="NAME" val="MoonShape"/>
  <p:tag name="ANGLE" val="1"/>
</p:tagLst>
</file>

<file path=ppt/tags/tag298.xml><?xml version="1.0" encoding="utf-8"?>
<p:tagLst xmlns:p="http://schemas.openxmlformats.org/presentationml/2006/main">
  <p:tag name="NAME" val="MoonHalfShape"/>
  <p:tag name="ANGLE" val="1"/>
</p:tagLst>
</file>

<file path=ppt/tags/tag299.xml><?xml version="1.0" encoding="utf-8"?>
<p:tagLst xmlns:p="http://schemas.openxmlformats.org/presentationml/2006/main">
  <p:tag name="NAME" val="Moon"/>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CONTENT_GROUP_TYPE" val="contentchip"/>
  <p:tag name="KSO_WM_UNIT_TYPE" val="i"/>
  <p:tag name="KSO_WM_UNIT_INDEX" val="3"/>
  <p:tag name="KSO_WM_UNIT_ID" val="_1*i*3"/>
  <p:tag name="KSO_WM_UNIT_LAYERLEVEL" val="1"/>
  <p:tag name="KSO_WM_TAG_VERSION" val="3.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3.0"/>
  <p:tag name="KSO_WM_BEAUTIFY_FLAG" val="#wm#"/>
</p:tagLst>
</file>

<file path=ppt/tags/tag300.xml><?xml version="1.0" encoding="utf-8"?>
<p:tagLst xmlns:p="http://schemas.openxmlformats.org/presentationml/2006/main">
  <p:tag name="NAME" val="MoonShape"/>
  <p:tag name="ANGLE" val="2"/>
</p:tagLst>
</file>

<file path=ppt/tags/tag301.xml><?xml version="1.0" encoding="utf-8"?>
<p:tagLst xmlns:p="http://schemas.openxmlformats.org/presentationml/2006/main">
  <p:tag name="NAME" val="MoonHalfShape"/>
  <p:tag name="ANGLE" val="2"/>
</p:tagLst>
</file>

<file path=ppt/tags/tag302.xml><?xml version="1.0" encoding="utf-8"?>
<p:tagLst xmlns:p="http://schemas.openxmlformats.org/presentationml/2006/main">
  <p:tag name="NAME" val="Moon"/>
</p:tagLst>
</file>

<file path=ppt/tags/tag303.xml><?xml version="1.0" encoding="utf-8"?>
<p:tagLst xmlns:p="http://schemas.openxmlformats.org/presentationml/2006/main">
  <p:tag name="NAME" val="MoonShape"/>
  <p:tag name="ANGLE" val="4"/>
</p:tagLst>
</file>

<file path=ppt/tags/tag304.xml><?xml version="1.0" encoding="utf-8"?>
<p:tagLst xmlns:p="http://schemas.openxmlformats.org/presentationml/2006/main">
  <p:tag name="NAME" val="MoonHalfShape"/>
  <p:tag name="ANGLE" val="4"/>
</p:tagLst>
</file>

<file path=ppt/tags/tag305.xml><?xml version="1.0" encoding="utf-8"?>
<p:tagLst xmlns:p="http://schemas.openxmlformats.org/presentationml/2006/main">
  <p:tag name="NAME" val="Moon"/>
</p:tagLst>
</file>

<file path=ppt/tags/tag306.xml><?xml version="1.0" encoding="utf-8"?>
<p:tagLst xmlns:p="http://schemas.openxmlformats.org/presentationml/2006/main">
  <p:tag name="NAME" val="MoonShape"/>
  <p:tag name="ANGLE" val="5"/>
</p:tagLst>
</file>

<file path=ppt/tags/tag307.xml><?xml version="1.0" encoding="utf-8"?>
<p:tagLst xmlns:p="http://schemas.openxmlformats.org/presentationml/2006/main">
  <p:tag name="NAME" val="MoonHalfShape"/>
  <p:tag name="ANGLE" val="5"/>
</p:tagLst>
</file>

<file path=ppt/tags/tag308.xml><?xml version="1.0" encoding="utf-8"?>
<p:tagLst xmlns:p="http://schemas.openxmlformats.org/presentationml/2006/main">
  <p:tag name="NAME" val="Moon"/>
</p:tagLst>
</file>

<file path=ppt/tags/tag309.xml><?xml version="1.0" encoding="utf-8"?>
<p:tagLst xmlns:p="http://schemas.openxmlformats.org/presentationml/2006/main">
  <p:tag name="NAME" val="MoonShape"/>
  <p:tag name="ANGLE" val="3"/>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3.0"/>
  <p:tag name="KSO_WM_BEAUTIFY_FLAG" val="#wm#"/>
</p:tagLst>
</file>

<file path=ppt/tags/tag310.xml><?xml version="1.0" encoding="utf-8"?>
<p:tagLst xmlns:p="http://schemas.openxmlformats.org/presentationml/2006/main">
  <p:tag name="NAME" val="MoonHalfShape"/>
  <p:tag name="ANGLE" val="4"/>
</p:tagLst>
</file>

<file path=ppt/tags/tag311.xml><?xml version="1.0" encoding="utf-8"?>
<p:tagLst xmlns:p="http://schemas.openxmlformats.org/presentationml/2006/main">
  <p:tag name="NAME" val="EmptyMoon"/>
</p:tagLst>
</file>

<file path=ppt/tags/tag312.xml><?xml version="1.0" encoding="utf-8"?>
<p:tagLst xmlns:p="http://schemas.openxmlformats.org/presentationml/2006/main">
  <p:tag name="ANGLE" val="1"/>
</p:tagLst>
</file>

<file path=ppt/tags/tag313.xml><?xml version="1.0" encoding="utf-8"?>
<p:tagLst xmlns:p="http://schemas.openxmlformats.org/presentationml/2006/main">
  <p:tag name="ANGLE" val="1"/>
</p:tagLst>
</file>

<file path=ppt/tags/tag314.xml><?xml version="1.0" encoding="utf-8"?>
<p:tagLst xmlns:p="http://schemas.openxmlformats.org/presentationml/2006/main">
  <p:tag name="NAME" val="QuaterMoon"/>
</p:tagLst>
</file>

<file path=ppt/tags/tag315.xml><?xml version="1.0" encoding="utf-8"?>
<p:tagLst xmlns:p="http://schemas.openxmlformats.org/presentationml/2006/main">
  <p:tag name="ANGLE" val="2"/>
</p:tagLst>
</file>

<file path=ppt/tags/tag316.xml><?xml version="1.0" encoding="utf-8"?>
<p:tagLst xmlns:p="http://schemas.openxmlformats.org/presentationml/2006/main">
  <p:tag name="ANGLE" val="2"/>
</p:tagLst>
</file>

<file path=ppt/tags/tag317.xml><?xml version="1.0" encoding="utf-8"?>
<p:tagLst xmlns:p="http://schemas.openxmlformats.org/presentationml/2006/main">
  <p:tag name="NAME" val="HalfMoon"/>
</p:tagLst>
</file>

<file path=ppt/tags/tag318.xml><?xml version="1.0" encoding="utf-8"?>
<p:tagLst xmlns:p="http://schemas.openxmlformats.org/presentationml/2006/main">
  <p:tag name="ANGLE" val="3"/>
</p:tagLst>
</file>

<file path=ppt/tags/tag319.xml><?xml version="1.0" encoding="utf-8"?>
<p:tagLst xmlns:p="http://schemas.openxmlformats.org/presentationml/2006/main">
  <p:tag name="ANGLE" val="3"/>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3.0"/>
  <p:tag name="KSO_WM_BEAUTIFY_FLAG" val="#wm#"/>
</p:tagLst>
</file>

<file path=ppt/tags/tag320.xml><?xml version="1.0" encoding="utf-8"?>
<p:tagLst xmlns:p="http://schemas.openxmlformats.org/presentationml/2006/main">
  <p:tag name="NAME" val="3QuaterMoon"/>
</p:tagLst>
</file>

<file path=ppt/tags/tag321.xml><?xml version="1.0" encoding="utf-8"?>
<p:tagLst xmlns:p="http://schemas.openxmlformats.org/presentationml/2006/main">
  <p:tag name="ANGLE" val="4"/>
</p:tagLst>
</file>

<file path=ppt/tags/tag322.xml><?xml version="1.0" encoding="utf-8"?>
<p:tagLst xmlns:p="http://schemas.openxmlformats.org/presentationml/2006/main">
  <p:tag name="ANGLE" val="4"/>
</p:tagLst>
</file>

<file path=ppt/tags/tag323.xml><?xml version="1.0" encoding="utf-8"?>
<p:tagLst xmlns:p="http://schemas.openxmlformats.org/presentationml/2006/main">
  <p:tag name="NAME" val="FullMoon"/>
</p:tagLst>
</file>

<file path=ppt/tags/tag324.xml><?xml version="1.0" encoding="utf-8"?>
<p:tagLst xmlns:p="http://schemas.openxmlformats.org/presentationml/2006/main">
  <p:tag name="ANGLE" val="5"/>
</p:tagLst>
</file>

<file path=ppt/tags/tag325.xml><?xml version="1.0" encoding="utf-8"?>
<p:tagLst xmlns:p="http://schemas.openxmlformats.org/presentationml/2006/main">
  <p:tag name="ANGLE" val="5"/>
</p:tagLst>
</file>

<file path=ppt/tags/tag326.xml><?xml version="1.0" encoding="utf-8"?>
<p:tagLst xmlns:p="http://schemas.openxmlformats.org/presentationml/2006/main">
  <p:tag name="THINKCELLSHAPEDONOTDELETE" val="thinkcellActiveDocDoNotDelete"/>
</p:tagLst>
</file>

<file path=ppt/tags/tag327.xml><?xml version="1.0" encoding="utf-8"?>
<p:tagLst xmlns:p="http://schemas.openxmlformats.org/presentationml/2006/main">
  <p:tag name="THINKCELLSHAPEDONOTDELETE" val="thinkcellActiveDocDoNotDelete"/>
</p:tagLst>
</file>

<file path=ppt/tags/tag328.xml><?xml version="1.0" encoding="utf-8"?>
<p:tagLst xmlns:p="http://schemas.openxmlformats.org/presentationml/2006/main">
  <p:tag name="THINKCELLSHAPEDONOTDELETE" val="thinkcellActiveDocDoNotDelete"/>
</p:tagLst>
</file>

<file path=ppt/tags/tag329.xml><?xml version="1.0" encoding="utf-8"?>
<p:tagLst xmlns:p="http://schemas.openxmlformats.org/presentationml/2006/main">
  <p:tag name="THINKCELLSHAPEDONOTDELETE" val="tEFjjKwKmteTkkbYM_UO1dQ"/>
</p:tagLst>
</file>

<file path=ppt/tags/tag33.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h_f"/>
  <p:tag name="KSO_WM_UNIT_INDEX" val="2_1"/>
  <p:tag name="KSO_WM_UNIT_ID" val="_6*h_f*2_1"/>
  <p:tag name="KSO_WM_UNIT_LAYERLEVEL" val="1_1"/>
  <p:tag name="KSO_WM_TAG_VERSION" val="3.0"/>
  <p:tag name="KSO_WM_BEAUTIFY_FLAG" val="#wm#"/>
  <p:tag name="KSO_WM_UNIT_PRESET_TEXT" val="单击此处编辑母版文本样式&#10;第二级&#10;第三级&#10;第四级&#10;第五级"/>
  <p:tag name="KSO_WM_UNIT_TEXT_LAYER_COUNT" val="1"/>
</p:tagLst>
</file>

<file path=ppt/tags/tag330.xml><?xml version="1.0" encoding="utf-8"?>
<p:tagLst xmlns:p="http://schemas.openxmlformats.org/presentationml/2006/main">
  <p:tag name="THINKCELLSHAPEDONOTDELETE" val="thinkcellActiveDocDoNotDelete"/>
</p:tagLst>
</file>

<file path=ppt/tags/tag331.xml><?xml version="1.0" encoding="utf-8"?>
<p:tagLst xmlns:p="http://schemas.openxmlformats.org/presentationml/2006/main">
  <p:tag name="THINKCELLSHAPEDONOTDELETE" val="thinkcellActiveDocDoNotDelete"/>
</p:tagLst>
</file>

<file path=ppt/tags/tag332.xml><?xml version="1.0" encoding="utf-8"?>
<p:tagLst xmlns:p="http://schemas.openxmlformats.org/presentationml/2006/main">
  <p:tag name="THINKCELLSHAPEDONOTDELETE" val="tOhDw2KbPEcrz2HIm6dngDA"/>
</p:tagLst>
</file>

<file path=ppt/tags/tag333.xml><?xml version="1.0" encoding="utf-8"?>
<p:tagLst xmlns:p="http://schemas.openxmlformats.org/presentationml/2006/main">
  <p:tag name="THINKCELLSHAPEDONOTDELETE" val="thinkcellActiveDocDoNotDelete"/>
</p:tagLst>
</file>

<file path=ppt/tags/tag334.xml><?xml version="1.0" encoding="utf-8"?>
<p:tagLst xmlns:p="http://schemas.openxmlformats.org/presentationml/2006/main">
  <p:tag name="THINKCELLSHAPEDONOTDELETE" val="taR7JQoq12udzmYLgzAeWOg"/>
</p:tagLst>
</file>

<file path=ppt/tags/tag335.xml><?xml version="1.0" encoding="utf-8"?>
<p:tagLst xmlns:p="http://schemas.openxmlformats.org/presentationml/2006/main">
  <p:tag name="THINKCELLSHAPEDONOTDELETE" val="thinkcellActiveDocDoNotDelete"/>
</p:tagLst>
</file>

<file path=ppt/tags/tag336.xml><?xml version="1.0" encoding="utf-8"?>
<p:tagLst xmlns:p="http://schemas.openxmlformats.org/presentationml/2006/main">
  <p:tag name="THINKCELLSHAPEDONOTDELETE" val="tdwVxRLg8JN7T_AjFd2WF3Q"/>
</p:tagLst>
</file>

<file path=ppt/tags/tag337.xml><?xml version="1.0" encoding="utf-8"?>
<p:tagLst xmlns:p="http://schemas.openxmlformats.org/presentationml/2006/main">
  <p:tag name="THINKCELLSHAPEDONOTDELETE" val="thinkcellActiveDocDoNotDelete"/>
</p:tagLst>
</file>

<file path=ppt/tags/tag338.xml><?xml version="1.0" encoding="utf-8"?>
<p:tagLst xmlns:p="http://schemas.openxmlformats.org/presentationml/2006/main">
  <p:tag name="NAME" val="Moon"/>
</p:tagLst>
</file>

<file path=ppt/tags/tag339.xml><?xml version="1.0" encoding="utf-8"?>
<p:tagLst xmlns:p="http://schemas.openxmlformats.org/presentationml/2006/main">
  <p:tag name="NAME" val="MoonShape"/>
  <p:tag name="ANGLE" val="1"/>
</p:tagLst>
</file>

<file path=ppt/tags/tag34.xml><?xml version="1.0" encoding="utf-8"?>
<p:tagLst xmlns:p="http://schemas.openxmlformats.org/presentationml/2006/main">
  <p:tag name="KSO_WM_UNIT_ISCONTENTSTITLE" val="0"/>
  <p:tag name="KSO_WM_UNIT_ISNUMDGMTITLE" val="0"/>
  <p:tag name="KSO_WM_UNIT_PRESET_TEXT" val="添加小标题"/>
  <p:tag name="KSO_WM_UNIT_NOCLEAR" val="0"/>
  <p:tag name="KSO_WM_UNIT_VALUE" val="10"/>
  <p:tag name="KSO_WM_UNIT_HIGHLIGHT" val="0"/>
  <p:tag name="KSO_WM_UNIT_COMPATIBLE" val="0"/>
  <p:tag name="KSO_WM_UNIT_DIAGRAM_ISNUMVISUAL" val="0"/>
  <p:tag name="KSO_WM_UNIT_DIAGRAM_ISREFERUNIT" val="0"/>
  <p:tag name="KSO_WM_UNIT_TYPE" val="h_a"/>
  <p:tag name="KSO_WM_UNIT_INDEX" val="2_1"/>
  <p:tag name="KSO_WM_UNIT_ID" val="_6*h_a*2_1"/>
  <p:tag name="KSO_WM_UNIT_LAYERLEVEL" val="1_1"/>
  <p:tag name="KSO_WM_TAG_VERSION" val="3.0"/>
  <p:tag name="KSO_WM_BEAUTIFY_FLAG" val="#wm#"/>
</p:tagLst>
</file>

<file path=ppt/tags/tag340.xml><?xml version="1.0" encoding="utf-8"?>
<p:tagLst xmlns:p="http://schemas.openxmlformats.org/presentationml/2006/main">
  <p:tag name="NAME" val="MoonHalfShape"/>
  <p:tag name="ANGLE" val="1"/>
</p:tagLst>
</file>

<file path=ppt/tags/tag341.xml><?xml version="1.0" encoding="utf-8"?>
<p:tagLst xmlns:p="http://schemas.openxmlformats.org/presentationml/2006/main">
  <p:tag name="NAME" val="Moon"/>
</p:tagLst>
</file>

<file path=ppt/tags/tag342.xml><?xml version="1.0" encoding="utf-8"?>
<p:tagLst xmlns:p="http://schemas.openxmlformats.org/presentationml/2006/main">
  <p:tag name="NAME" val="MoonShape"/>
  <p:tag name="ANGLE" val="2"/>
</p:tagLst>
</file>

<file path=ppt/tags/tag343.xml><?xml version="1.0" encoding="utf-8"?>
<p:tagLst xmlns:p="http://schemas.openxmlformats.org/presentationml/2006/main">
  <p:tag name="NAME" val="MoonHalfShape"/>
  <p:tag name="ANGLE" val="2"/>
</p:tagLst>
</file>

<file path=ppt/tags/tag344.xml><?xml version="1.0" encoding="utf-8"?>
<p:tagLst xmlns:p="http://schemas.openxmlformats.org/presentationml/2006/main">
  <p:tag name="NAME" val="Moon"/>
</p:tagLst>
</file>

<file path=ppt/tags/tag345.xml><?xml version="1.0" encoding="utf-8"?>
<p:tagLst xmlns:p="http://schemas.openxmlformats.org/presentationml/2006/main">
  <p:tag name="NAME" val="MoonShape"/>
  <p:tag name="ANGLE" val="4"/>
</p:tagLst>
</file>

<file path=ppt/tags/tag346.xml><?xml version="1.0" encoding="utf-8"?>
<p:tagLst xmlns:p="http://schemas.openxmlformats.org/presentationml/2006/main">
  <p:tag name="NAME" val="MoonHalfShape"/>
  <p:tag name="ANGLE" val="4"/>
</p:tagLst>
</file>

<file path=ppt/tags/tag347.xml><?xml version="1.0" encoding="utf-8"?>
<p:tagLst xmlns:p="http://schemas.openxmlformats.org/presentationml/2006/main">
  <p:tag name="NAME" val="Moon"/>
</p:tagLst>
</file>

<file path=ppt/tags/tag348.xml><?xml version="1.0" encoding="utf-8"?>
<p:tagLst xmlns:p="http://schemas.openxmlformats.org/presentationml/2006/main">
  <p:tag name="NAME" val="MoonShape"/>
  <p:tag name="ANGLE" val="5"/>
</p:tagLst>
</file>

<file path=ppt/tags/tag349.xml><?xml version="1.0" encoding="utf-8"?>
<p:tagLst xmlns:p="http://schemas.openxmlformats.org/presentationml/2006/main">
  <p:tag name="NAME" val="MoonHalfShape"/>
  <p:tag name="ANGLE" val="5"/>
</p:tagLst>
</file>

<file path=ppt/tags/tag35.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h_f"/>
  <p:tag name="KSO_WM_UNIT_INDEX" val="1_1"/>
  <p:tag name="KSO_WM_UNIT_ID" val="_6*h_f*1_1"/>
  <p:tag name="KSO_WM_UNIT_LAYERLEVEL" val="1_1"/>
  <p:tag name="KSO_WM_TAG_VERSION" val="3.0"/>
  <p:tag name="KSO_WM_BEAUTIFY_FLAG" val="#wm#"/>
  <p:tag name="KSO_WM_UNIT_PRESET_TEXT" val="单击此处编辑母版文本样式&#10;第二级&#10;第三级&#10;第四级&#10;第五级"/>
  <p:tag name="KSO_WM_UNIT_TEXT_LAYER_COUNT" val="1"/>
</p:tagLst>
</file>

<file path=ppt/tags/tag350.xml><?xml version="1.0" encoding="utf-8"?>
<p:tagLst xmlns:p="http://schemas.openxmlformats.org/presentationml/2006/main">
  <p:tag name="NAME" val="Moon"/>
</p:tagLst>
</file>

<file path=ppt/tags/tag351.xml><?xml version="1.0" encoding="utf-8"?>
<p:tagLst xmlns:p="http://schemas.openxmlformats.org/presentationml/2006/main">
  <p:tag name="NAME" val="MoonShape"/>
  <p:tag name="ANGLE" val="3"/>
</p:tagLst>
</file>

<file path=ppt/tags/tag352.xml><?xml version="1.0" encoding="utf-8"?>
<p:tagLst xmlns:p="http://schemas.openxmlformats.org/presentationml/2006/main">
  <p:tag name="NAME" val="MoonHalfShape"/>
  <p:tag name="ANGLE" val="4"/>
</p:tagLst>
</file>

<file path=ppt/tags/tag353.xml><?xml version="1.0" encoding="utf-8"?>
<p:tagLst xmlns:p="http://schemas.openxmlformats.org/presentationml/2006/main">
  <p:tag name="NAME" val="EmptyMoon"/>
</p:tagLst>
</file>

<file path=ppt/tags/tag354.xml><?xml version="1.0" encoding="utf-8"?>
<p:tagLst xmlns:p="http://schemas.openxmlformats.org/presentationml/2006/main">
  <p:tag name="ANGLE" val="1"/>
</p:tagLst>
</file>

<file path=ppt/tags/tag355.xml><?xml version="1.0" encoding="utf-8"?>
<p:tagLst xmlns:p="http://schemas.openxmlformats.org/presentationml/2006/main">
  <p:tag name="ANGLE" val="1"/>
</p:tagLst>
</file>

<file path=ppt/tags/tag356.xml><?xml version="1.0" encoding="utf-8"?>
<p:tagLst xmlns:p="http://schemas.openxmlformats.org/presentationml/2006/main">
  <p:tag name="NAME" val="QuaterMoon"/>
</p:tagLst>
</file>

<file path=ppt/tags/tag357.xml><?xml version="1.0" encoding="utf-8"?>
<p:tagLst xmlns:p="http://schemas.openxmlformats.org/presentationml/2006/main">
  <p:tag name="ANGLE" val="2"/>
</p:tagLst>
</file>

<file path=ppt/tags/tag358.xml><?xml version="1.0" encoding="utf-8"?>
<p:tagLst xmlns:p="http://schemas.openxmlformats.org/presentationml/2006/main">
  <p:tag name="ANGLE" val="2"/>
</p:tagLst>
</file>

<file path=ppt/tags/tag359.xml><?xml version="1.0" encoding="utf-8"?>
<p:tagLst xmlns:p="http://schemas.openxmlformats.org/presentationml/2006/main">
  <p:tag name="NAME" val="HalfMoon"/>
</p:tagLst>
</file>

<file path=ppt/tags/tag36.xml><?xml version="1.0" encoding="utf-8"?>
<p:tagLst xmlns:p="http://schemas.openxmlformats.org/presentationml/2006/main">
  <p:tag name="KSO_WM_UNIT_ISCONTENTSTITLE" val="0"/>
  <p:tag name="KSO_WM_UNIT_ISNUMDGMTITLE" val="0"/>
  <p:tag name="KSO_WM_UNIT_PRESET_TEXT" val="添加小标题"/>
  <p:tag name="KSO_WM_UNIT_NOCLEAR" val="0"/>
  <p:tag name="KSO_WM_UNIT_VALUE" val="10"/>
  <p:tag name="KSO_WM_UNIT_HIGHLIGHT" val="0"/>
  <p:tag name="KSO_WM_UNIT_COMPATIBLE" val="0"/>
  <p:tag name="KSO_WM_UNIT_DIAGRAM_ISNUMVISUAL" val="0"/>
  <p:tag name="KSO_WM_UNIT_DIAGRAM_ISREFERUNIT" val="0"/>
  <p:tag name="KSO_WM_UNIT_TYPE" val="h_a"/>
  <p:tag name="KSO_WM_UNIT_INDEX" val="1_1"/>
  <p:tag name="KSO_WM_UNIT_ID" val="_6*h_a*1_1"/>
  <p:tag name="KSO_WM_UNIT_LAYERLEVEL" val="1_1"/>
  <p:tag name="KSO_WM_TAG_VERSION" val="3.0"/>
  <p:tag name="KSO_WM_BEAUTIFY_FLAG" val="#wm#"/>
</p:tagLst>
</file>

<file path=ppt/tags/tag360.xml><?xml version="1.0" encoding="utf-8"?>
<p:tagLst xmlns:p="http://schemas.openxmlformats.org/presentationml/2006/main">
  <p:tag name="ANGLE" val="3"/>
</p:tagLst>
</file>

<file path=ppt/tags/tag361.xml><?xml version="1.0" encoding="utf-8"?>
<p:tagLst xmlns:p="http://schemas.openxmlformats.org/presentationml/2006/main">
  <p:tag name="ANGLE" val="3"/>
</p:tagLst>
</file>

<file path=ppt/tags/tag362.xml><?xml version="1.0" encoding="utf-8"?>
<p:tagLst xmlns:p="http://schemas.openxmlformats.org/presentationml/2006/main">
  <p:tag name="NAME" val="3QuaterMoon"/>
</p:tagLst>
</file>

<file path=ppt/tags/tag363.xml><?xml version="1.0" encoding="utf-8"?>
<p:tagLst xmlns:p="http://schemas.openxmlformats.org/presentationml/2006/main">
  <p:tag name="ANGLE" val="4"/>
</p:tagLst>
</file>

<file path=ppt/tags/tag364.xml><?xml version="1.0" encoding="utf-8"?>
<p:tagLst xmlns:p="http://schemas.openxmlformats.org/presentationml/2006/main">
  <p:tag name="ANGLE" val="4"/>
</p:tagLst>
</file>

<file path=ppt/tags/tag365.xml><?xml version="1.0" encoding="utf-8"?>
<p:tagLst xmlns:p="http://schemas.openxmlformats.org/presentationml/2006/main">
  <p:tag name="NAME" val="FullMoon"/>
</p:tagLst>
</file>

<file path=ppt/tags/tag366.xml><?xml version="1.0" encoding="utf-8"?>
<p:tagLst xmlns:p="http://schemas.openxmlformats.org/presentationml/2006/main">
  <p:tag name="ANGLE" val="5"/>
</p:tagLst>
</file>

<file path=ppt/tags/tag367.xml><?xml version="1.0" encoding="utf-8"?>
<p:tagLst xmlns:p="http://schemas.openxmlformats.org/presentationml/2006/main">
  <p:tag name="ANGLE" val="5"/>
</p:tagLst>
</file>

<file path=ppt/tags/tag368.xml><?xml version="1.0" encoding="utf-8"?>
<p:tagLst xmlns:p="http://schemas.openxmlformats.org/presentationml/2006/main">
  <p:tag name="THINKCELLSHAPEDONOTDELETE" val="thinkcellActiveDocDoNotDelete"/>
</p:tagLst>
</file>

<file path=ppt/tags/tag369.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KSO_WM_UNIT_ISCONTENTSTITLE" val="0"/>
  <p:tag name="KSO_WM_UNIT_ISNUMDGMTITLE" val="0"/>
  <p:tag name="KSO_WM_UNIT_PRESET_TEXT" val="正文页-预设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6*a*1"/>
  <p:tag name="KSO_WM_UNIT_LAYERLEVEL" val="1"/>
  <p:tag name="KSO_WM_TAG_VERSION" val="3.0"/>
  <p:tag name="KSO_WM_BEAUTIFY_FLAG" val="#wm#"/>
  <p:tag name="KSO_WM_UNIT_CONTENT_GROUP_TYPE" val="titlestyle"/>
</p:tagLst>
</file>

<file path=ppt/tags/tag370.xml><?xml version="1.0" encoding="utf-8"?>
<p:tagLst xmlns:p="http://schemas.openxmlformats.org/presentationml/2006/main">
  <p:tag name="THINKCELLSHAPEDONOTDELETE" val="thinkcellActiveDocDoNotDelete"/>
</p:tagLst>
</file>

<file path=ppt/tags/tag371.xml><?xml version="1.0" encoding="utf-8"?>
<p:tagLst xmlns:p="http://schemas.openxmlformats.org/presentationml/2006/main">
  <p:tag name="THINKCELLSHAPEDONOTDELETE" val="tEFjjKwKmteTkkbYM_UO1dQ"/>
</p:tagLst>
</file>

<file path=ppt/tags/tag372.xml><?xml version="1.0" encoding="utf-8"?>
<p:tagLst xmlns:p="http://schemas.openxmlformats.org/presentationml/2006/main">
  <p:tag name="THINKCELLSHAPEDONOTDELETE" val="thinkcellActiveDocDoNotDelete"/>
</p:tagLst>
</file>

<file path=ppt/tags/tag373.xml><?xml version="1.0" encoding="utf-8"?>
<p:tagLst xmlns:p="http://schemas.openxmlformats.org/presentationml/2006/main">
  <p:tag name="THINKCELLSHAPEDONOTDELETE" val="thinkcellActiveDocDoNotDelete"/>
</p:tagLst>
</file>

<file path=ppt/tags/tag374.xml><?xml version="1.0" encoding="utf-8"?>
<p:tagLst xmlns:p="http://schemas.openxmlformats.org/presentationml/2006/main">
  <p:tag name="THINKCELLSHAPEDONOTDELETE" val="tOhDw2KbPEcrz2HIm6dngDA"/>
</p:tagLst>
</file>

<file path=ppt/tags/tag375.xml><?xml version="1.0" encoding="utf-8"?>
<p:tagLst xmlns:p="http://schemas.openxmlformats.org/presentationml/2006/main">
  <p:tag name="THINKCELLSHAPEDONOTDELETE" val="thinkcellActiveDocDoNotDelete"/>
</p:tagLst>
</file>

<file path=ppt/tags/tag376.xml><?xml version="1.0" encoding="utf-8"?>
<p:tagLst xmlns:p="http://schemas.openxmlformats.org/presentationml/2006/main">
  <p:tag name="THINKCELLSHAPEDONOTDELETE" val="taR7JQoq12udzmYLgzAeWOg"/>
</p:tagLst>
</file>

<file path=ppt/tags/tag377.xml><?xml version="1.0" encoding="utf-8"?>
<p:tagLst xmlns:p="http://schemas.openxmlformats.org/presentationml/2006/main">
  <p:tag name="THINKCELLSHAPEDONOTDELETE" val="thinkcellActiveDocDoNotDelete"/>
</p:tagLst>
</file>

<file path=ppt/tags/tag378.xml><?xml version="1.0" encoding="utf-8"?>
<p:tagLst xmlns:p="http://schemas.openxmlformats.org/presentationml/2006/main">
  <p:tag name="THINKCELLSHAPEDONOTDELETE" val="tdwVxRLg8JN7T_AjFd2WF3Q"/>
</p:tagLst>
</file>

<file path=ppt/tags/tag379.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3.0"/>
  <p:tag name="KSO_WM_BEAUTIFY_FLAG" val="#wm#"/>
</p:tagLst>
</file>

<file path=ppt/tags/tag380.xml><?xml version="1.0" encoding="utf-8"?>
<p:tagLst xmlns:p="http://schemas.openxmlformats.org/presentationml/2006/main">
  <p:tag name="NAME" val="Moon"/>
</p:tagLst>
</file>

<file path=ppt/tags/tag381.xml><?xml version="1.0" encoding="utf-8"?>
<p:tagLst xmlns:p="http://schemas.openxmlformats.org/presentationml/2006/main">
  <p:tag name="NAME" val="MoonShape"/>
  <p:tag name="ANGLE" val="1"/>
</p:tagLst>
</file>

<file path=ppt/tags/tag382.xml><?xml version="1.0" encoding="utf-8"?>
<p:tagLst xmlns:p="http://schemas.openxmlformats.org/presentationml/2006/main">
  <p:tag name="NAME" val="MoonHalfShape"/>
  <p:tag name="ANGLE" val="1"/>
</p:tagLst>
</file>

<file path=ppt/tags/tag383.xml><?xml version="1.0" encoding="utf-8"?>
<p:tagLst xmlns:p="http://schemas.openxmlformats.org/presentationml/2006/main">
  <p:tag name="NAME" val="Moon"/>
</p:tagLst>
</file>

<file path=ppt/tags/tag384.xml><?xml version="1.0" encoding="utf-8"?>
<p:tagLst xmlns:p="http://schemas.openxmlformats.org/presentationml/2006/main">
  <p:tag name="NAME" val="MoonShape"/>
  <p:tag name="ANGLE" val="2"/>
</p:tagLst>
</file>

<file path=ppt/tags/tag385.xml><?xml version="1.0" encoding="utf-8"?>
<p:tagLst xmlns:p="http://schemas.openxmlformats.org/presentationml/2006/main">
  <p:tag name="NAME" val="MoonHalfShape"/>
  <p:tag name="ANGLE" val="2"/>
</p:tagLst>
</file>

<file path=ppt/tags/tag386.xml><?xml version="1.0" encoding="utf-8"?>
<p:tagLst xmlns:p="http://schemas.openxmlformats.org/presentationml/2006/main">
  <p:tag name="NAME" val="Moon"/>
</p:tagLst>
</file>

<file path=ppt/tags/tag387.xml><?xml version="1.0" encoding="utf-8"?>
<p:tagLst xmlns:p="http://schemas.openxmlformats.org/presentationml/2006/main">
  <p:tag name="NAME" val="MoonShape"/>
  <p:tag name="ANGLE" val="4"/>
</p:tagLst>
</file>

<file path=ppt/tags/tag388.xml><?xml version="1.0" encoding="utf-8"?>
<p:tagLst xmlns:p="http://schemas.openxmlformats.org/presentationml/2006/main">
  <p:tag name="NAME" val="MoonHalfShape"/>
  <p:tag name="ANGLE" val="4"/>
</p:tagLst>
</file>

<file path=ppt/tags/tag389.xml><?xml version="1.0" encoding="utf-8"?>
<p:tagLst xmlns:p="http://schemas.openxmlformats.org/presentationml/2006/main">
  <p:tag name="NAME" val="Moon"/>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3.0"/>
  <p:tag name="KSO_WM_BEAUTIFY_FLAG" val="#wm#"/>
</p:tagLst>
</file>

<file path=ppt/tags/tag390.xml><?xml version="1.0" encoding="utf-8"?>
<p:tagLst xmlns:p="http://schemas.openxmlformats.org/presentationml/2006/main">
  <p:tag name="NAME" val="MoonShape"/>
  <p:tag name="ANGLE" val="5"/>
</p:tagLst>
</file>

<file path=ppt/tags/tag391.xml><?xml version="1.0" encoding="utf-8"?>
<p:tagLst xmlns:p="http://schemas.openxmlformats.org/presentationml/2006/main">
  <p:tag name="NAME" val="MoonHalfShape"/>
  <p:tag name="ANGLE" val="5"/>
</p:tagLst>
</file>

<file path=ppt/tags/tag392.xml><?xml version="1.0" encoding="utf-8"?>
<p:tagLst xmlns:p="http://schemas.openxmlformats.org/presentationml/2006/main">
  <p:tag name="NAME" val="Moon"/>
</p:tagLst>
</file>

<file path=ppt/tags/tag393.xml><?xml version="1.0" encoding="utf-8"?>
<p:tagLst xmlns:p="http://schemas.openxmlformats.org/presentationml/2006/main">
  <p:tag name="NAME" val="MoonShape"/>
  <p:tag name="ANGLE" val="3"/>
</p:tagLst>
</file>

<file path=ppt/tags/tag394.xml><?xml version="1.0" encoding="utf-8"?>
<p:tagLst xmlns:p="http://schemas.openxmlformats.org/presentationml/2006/main">
  <p:tag name="NAME" val="MoonHalfShape"/>
  <p:tag name="ANGLE" val="4"/>
</p:tagLst>
</file>

<file path=ppt/tags/tag395.xml><?xml version="1.0" encoding="utf-8"?>
<p:tagLst xmlns:p="http://schemas.openxmlformats.org/presentationml/2006/main">
  <p:tag name="NAME" val="EmptyMoon"/>
</p:tagLst>
</file>

<file path=ppt/tags/tag396.xml><?xml version="1.0" encoding="utf-8"?>
<p:tagLst xmlns:p="http://schemas.openxmlformats.org/presentationml/2006/main">
  <p:tag name="ANGLE" val="1"/>
</p:tagLst>
</file>

<file path=ppt/tags/tag397.xml><?xml version="1.0" encoding="utf-8"?>
<p:tagLst xmlns:p="http://schemas.openxmlformats.org/presentationml/2006/main">
  <p:tag name="ANGLE" val="1"/>
</p:tagLst>
</file>

<file path=ppt/tags/tag398.xml><?xml version="1.0" encoding="utf-8"?>
<p:tagLst xmlns:p="http://schemas.openxmlformats.org/presentationml/2006/main">
  <p:tag name="NAME" val="QuaterMoon"/>
</p:tagLst>
</file>

<file path=ppt/tags/tag399.xml><?xml version="1.0" encoding="utf-8"?>
<p:tagLst xmlns:p="http://schemas.openxmlformats.org/presentationml/2006/main">
  <p:tag name="ANGLE" val="2"/>
</p:tagLst>
</file>

<file path=ppt/tags/tag4.xml><?xml version="1.0" encoding="utf-8"?>
<p:tagLst xmlns:p="http://schemas.openxmlformats.org/presentationml/2006/main">
  <p:tag name="KSO_WM_UNIT_ISCONTENTSTITLE" val="0"/>
  <p:tag name="KSO_WM_UNIT_ISNUMDGMTITLE" val="0"/>
  <p:tag name="KSO_WM_UNIT_PRESET_TEXT" val="单击添加文档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1*a*1"/>
  <p:tag name="KSO_WM_UNIT_LAYERLEVEL" val="1"/>
  <p:tag name="KSO_WM_TAG_VERSION" val="3.0"/>
  <p:tag name="KSO_WM_BEAUTIFY_FLAG" val="#wm#"/>
  <p:tag name="KSO_WM_UNIT_CONTENT_GROUP_TYPE" val="contentchip"/>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3.0"/>
  <p:tag name="KSO_WM_BEAUTIFY_FLAG" val="#wm#"/>
</p:tagLst>
</file>

<file path=ppt/tags/tag400.xml><?xml version="1.0" encoding="utf-8"?>
<p:tagLst xmlns:p="http://schemas.openxmlformats.org/presentationml/2006/main">
  <p:tag name="ANGLE" val="2"/>
</p:tagLst>
</file>

<file path=ppt/tags/tag401.xml><?xml version="1.0" encoding="utf-8"?>
<p:tagLst xmlns:p="http://schemas.openxmlformats.org/presentationml/2006/main">
  <p:tag name="NAME" val="HalfMoon"/>
</p:tagLst>
</file>

<file path=ppt/tags/tag402.xml><?xml version="1.0" encoding="utf-8"?>
<p:tagLst xmlns:p="http://schemas.openxmlformats.org/presentationml/2006/main">
  <p:tag name="ANGLE" val="3"/>
</p:tagLst>
</file>

<file path=ppt/tags/tag403.xml><?xml version="1.0" encoding="utf-8"?>
<p:tagLst xmlns:p="http://schemas.openxmlformats.org/presentationml/2006/main">
  <p:tag name="ANGLE" val="3"/>
</p:tagLst>
</file>

<file path=ppt/tags/tag404.xml><?xml version="1.0" encoding="utf-8"?>
<p:tagLst xmlns:p="http://schemas.openxmlformats.org/presentationml/2006/main">
  <p:tag name="NAME" val="3QuaterMoon"/>
</p:tagLst>
</file>

<file path=ppt/tags/tag405.xml><?xml version="1.0" encoding="utf-8"?>
<p:tagLst xmlns:p="http://schemas.openxmlformats.org/presentationml/2006/main">
  <p:tag name="ANGLE" val="4"/>
</p:tagLst>
</file>

<file path=ppt/tags/tag406.xml><?xml version="1.0" encoding="utf-8"?>
<p:tagLst xmlns:p="http://schemas.openxmlformats.org/presentationml/2006/main">
  <p:tag name="ANGLE" val="4"/>
</p:tagLst>
</file>

<file path=ppt/tags/tag407.xml><?xml version="1.0" encoding="utf-8"?>
<p:tagLst xmlns:p="http://schemas.openxmlformats.org/presentationml/2006/main">
  <p:tag name="NAME" val="FullMoon"/>
</p:tagLst>
</file>

<file path=ppt/tags/tag408.xml><?xml version="1.0" encoding="utf-8"?>
<p:tagLst xmlns:p="http://schemas.openxmlformats.org/presentationml/2006/main">
  <p:tag name="ANGLE" val="5"/>
</p:tagLst>
</file>

<file path=ppt/tags/tag409.xml><?xml version="1.0" encoding="utf-8"?>
<p:tagLst xmlns:p="http://schemas.openxmlformats.org/presentationml/2006/main">
  <p:tag name="ANGLE" val="5"/>
</p:tagLst>
</file>

<file path=ppt/tags/tag41.xml><?xml version="1.0" encoding="utf-8"?>
<p:tagLst xmlns:p="http://schemas.openxmlformats.org/presentationml/2006/main">
  <p:tag name="KSO_WM_UNIT_ISCONTENTSTITLE" val="0"/>
  <p:tag name="KSO_WM_UNIT_ISNUMDGMTITLE" val="0"/>
  <p:tag name="KSO_WM_UNIT_PRESET_TEXT" val="正文页-预设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7*a*1"/>
  <p:tag name="KSO_WM_UNIT_LAYERLEVEL" val="1"/>
  <p:tag name="KSO_WM_TAG_VERSION" val="3.0"/>
  <p:tag name="KSO_WM_BEAUTIFY_FLAG" val="#wm#"/>
  <p:tag name="KSO_WM_UNIT_CONTENT_GROUP_TYPE" val="titlestyle"/>
</p:tagLst>
</file>

<file path=ppt/tags/tag410.xml><?xml version="1.0" encoding="utf-8"?>
<p:tagLst xmlns:p="http://schemas.openxmlformats.org/presentationml/2006/main">
  <p:tag name="THINKCELLSHAPEDONOTDELETE" val="thinkcellActiveDocDoNotDelete"/>
</p:tagLst>
</file>

<file path=ppt/tags/tag411.xml><?xml version="1.0" encoding="utf-8"?>
<p:tagLst xmlns:p="http://schemas.openxmlformats.org/presentationml/2006/main">
  <p:tag name="THINKCELLSHAPEDONOTDELETE" val="thinkcellActiveDocDoNotDelete"/>
</p:tagLst>
</file>

<file path=ppt/tags/tag412.xml><?xml version="1.0" encoding="utf-8"?>
<p:tagLst xmlns:p="http://schemas.openxmlformats.org/presentationml/2006/main">
  <p:tag name="THINKCELLSHAPEDONOTDELETE" val="thinkcellActiveDocDoNotDelete"/>
</p:tagLst>
</file>

<file path=ppt/tags/tag413.xml><?xml version="1.0" encoding="utf-8"?>
<p:tagLst xmlns:p="http://schemas.openxmlformats.org/presentationml/2006/main">
  <p:tag name="THINKCELLSHAPEDONOTDELETE" val="tEFjjKwKmteTkkbYM_UO1dQ"/>
</p:tagLst>
</file>

<file path=ppt/tags/tag414.xml><?xml version="1.0" encoding="utf-8"?>
<p:tagLst xmlns:p="http://schemas.openxmlformats.org/presentationml/2006/main">
  <p:tag name="THINKCELLSHAPEDONOTDELETE" val="thinkcellActiveDocDoNotDelete"/>
</p:tagLst>
</file>

<file path=ppt/tags/tag415.xml><?xml version="1.0" encoding="utf-8"?>
<p:tagLst xmlns:p="http://schemas.openxmlformats.org/presentationml/2006/main">
  <p:tag name="THINKCELLSHAPEDONOTDELETE" val="thinkcellActiveDocDoNotDelete"/>
</p:tagLst>
</file>

<file path=ppt/tags/tag416.xml><?xml version="1.0" encoding="utf-8"?>
<p:tagLst xmlns:p="http://schemas.openxmlformats.org/presentationml/2006/main">
  <p:tag name="THINKCELLSHAPEDONOTDELETE" val="tOhDw2KbPEcrz2HIm6dngDA"/>
</p:tagLst>
</file>

<file path=ppt/tags/tag417.xml><?xml version="1.0" encoding="utf-8"?>
<p:tagLst xmlns:p="http://schemas.openxmlformats.org/presentationml/2006/main">
  <p:tag name="THINKCELLSHAPEDONOTDELETE" val="thinkcellActiveDocDoNotDelete"/>
</p:tagLst>
</file>

<file path=ppt/tags/tag418.xml><?xml version="1.0" encoding="utf-8"?>
<p:tagLst xmlns:p="http://schemas.openxmlformats.org/presentationml/2006/main">
  <p:tag name="THINKCELLSHAPEDONOTDELETE" val="taR7JQoq12udzmYLgzAeWOg"/>
</p:tagLst>
</file>

<file path=ppt/tags/tag419.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3.0"/>
  <p:tag name="KSO_WM_BEAUTIFY_FLAG" val="#wm#"/>
</p:tagLst>
</file>

<file path=ppt/tags/tag420.xml><?xml version="1.0" encoding="utf-8"?>
<p:tagLst xmlns:p="http://schemas.openxmlformats.org/presentationml/2006/main">
  <p:tag name="THINKCELLSHAPEDONOTDELETE" val="tdwVxRLg8JN7T_AjFd2WF3Q"/>
</p:tagLst>
</file>

<file path=ppt/tags/tag421.xml><?xml version="1.0" encoding="utf-8"?>
<p:tagLst xmlns:p="http://schemas.openxmlformats.org/presentationml/2006/main">
  <p:tag name="THINKCELLSHAPEDONOTDELETE" val="thinkcellActiveDocDoNotDelete"/>
</p:tagLst>
</file>

<file path=ppt/tags/tag422.xml><?xml version="1.0" encoding="utf-8"?>
<p:tagLst xmlns:p="http://schemas.openxmlformats.org/presentationml/2006/main">
  <p:tag name="NAME" val="Moon"/>
</p:tagLst>
</file>

<file path=ppt/tags/tag423.xml><?xml version="1.0" encoding="utf-8"?>
<p:tagLst xmlns:p="http://schemas.openxmlformats.org/presentationml/2006/main">
  <p:tag name="NAME" val="MoonShape"/>
  <p:tag name="ANGLE" val="1"/>
</p:tagLst>
</file>

<file path=ppt/tags/tag424.xml><?xml version="1.0" encoding="utf-8"?>
<p:tagLst xmlns:p="http://schemas.openxmlformats.org/presentationml/2006/main">
  <p:tag name="NAME" val="MoonHalfShape"/>
  <p:tag name="ANGLE" val="1"/>
</p:tagLst>
</file>

<file path=ppt/tags/tag425.xml><?xml version="1.0" encoding="utf-8"?>
<p:tagLst xmlns:p="http://schemas.openxmlformats.org/presentationml/2006/main">
  <p:tag name="NAME" val="Moon"/>
</p:tagLst>
</file>

<file path=ppt/tags/tag426.xml><?xml version="1.0" encoding="utf-8"?>
<p:tagLst xmlns:p="http://schemas.openxmlformats.org/presentationml/2006/main">
  <p:tag name="NAME" val="MoonShape"/>
  <p:tag name="ANGLE" val="2"/>
</p:tagLst>
</file>

<file path=ppt/tags/tag427.xml><?xml version="1.0" encoding="utf-8"?>
<p:tagLst xmlns:p="http://schemas.openxmlformats.org/presentationml/2006/main">
  <p:tag name="NAME" val="MoonHalfShape"/>
  <p:tag name="ANGLE" val="2"/>
</p:tagLst>
</file>

<file path=ppt/tags/tag428.xml><?xml version="1.0" encoding="utf-8"?>
<p:tagLst xmlns:p="http://schemas.openxmlformats.org/presentationml/2006/main">
  <p:tag name="NAME" val="Moon"/>
</p:tagLst>
</file>

<file path=ppt/tags/tag429.xml><?xml version="1.0" encoding="utf-8"?>
<p:tagLst xmlns:p="http://schemas.openxmlformats.org/presentationml/2006/main">
  <p:tag name="NAME" val="MoonShape"/>
  <p:tag name="ANGLE" val="4"/>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3.0"/>
  <p:tag name="KSO_WM_BEAUTIFY_FLAG" val="#wm#"/>
</p:tagLst>
</file>

<file path=ppt/tags/tag430.xml><?xml version="1.0" encoding="utf-8"?>
<p:tagLst xmlns:p="http://schemas.openxmlformats.org/presentationml/2006/main">
  <p:tag name="NAME" val="MoonHalfShape"/>
  <p:tag name="ANGLE" val="4"/>
</p:tagLst>
</file>

<file path=ppt/tags/tag431.xml><?xml version="1.0" encoding="utf-8"?>
<p:tagLst xmlns:p="http://schemas.openxmlformats.org/presentationml/2006/main">
  <p:tag name="NAME" val="Moon"/>
</p:tagLst>
</file>

<file path=ppt/tags/tag432.xml><?xml version="1.0" encoding="utf-8"?>
<p:tagLst xmlns:p="http://schemas.openxmlformats.org/presentationml/2006/main">
  <p:tag name="NAME" val="MoonShape"/>
  <p:tag name="ANGLE" val="5"/>
</p:tagLst>
</file>

<file path=ppt/tags/tag433.xml><?xml version="1.0" encoding="utf-8"?>
<p:tagLst xmlns:p="http://schemas.openxmlformats.org/presentationml/2006/main">
  <p:tag name="NAME" val="MoonHalfShape"/>
  <p:tag name="ANGLE" val="5"/>
</p:tagLst>
</file>

<file path=ppt/tags/tag434.xml><?xml version="1.0" encoding="utf-8"?>
<p:tagLst xmlns:p="http://schemas.openxmlformats.org/presentationml/2006/main">
  <p:tag name="NAME" val="Moon"/>
</p:tagLst>
</file>

<file path=ppt/tags/tag435.xml><?xml version="1.0" encoding="utf-8"?>
<p:tagLst xmlns:p="http://schemas.openxmlformats.org/presentationml/2006/main">
  <p:tag name="NAME" val="MoonShape"/>
  <p:tag name="ANGLE" val="3"/>
</p:tagLst>
</file>

<file path=ppt/tags/tag436.xml><?xml version="1.0" encoding="utf-8"?>
<p:tagLst xmlns:p="http://schemas.openxmlformats.org/presentationml/2006/main">
  <p:tag name="NAME" val="MoonHalfShape"/>
  <p:tag name="ANGLE" val="4"/>
</p:tagLst>
</file>

<file path=ppt/tags/tag437.xml><?xml version="1.0" encoding="utf-8"?>
<p:tagLst xmlns:p="http://schemas.openxmlformats.org/presentationml/2006/main">
  <p:tag name="NAME" val="EmptyMoon"/>
</p:tagLst>
</file>

<file path=ppt/tags/tag438.xml><?xml version="1.0" encoding="utf-8"?>
<p:tagLst xmlns:p="http://schemas.openxmlformats.org/presentationml/2006/main">
  <p:tag name="ANGLE" val="1"/>
</p:tagLst>
</file>

<file path=ppt/tags/tag439.xml><?xml version="1.0" encoding="utf-8"?>
<p:tagLst xmlns:p="http://schemas.openxmlformats.org/presentationml/2006/main">
  <p:tag name="ANGLE" val="1"/>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3.0"/>
  <p:tag name="KSO_WM_BEAUTIFY_FLAG" val="#wm#"/>
</p:tagLst>
</file>

<file path=ppt/tags/tag440.xml><?xml version="1.0" encoding="utf-8"?>
<p:tagLst xmlns:p="http://schemas.openxmlformats.org/presentationml/2006/main">
  <p:tag name="NAME" val="QuaterMoon"/>
</p:tagLst>
</file>

<file path=ppt/tags/tag441.xml><?xml version="1.0" encoding="utf-8"?>
<p:tagLst xmlns:p="http://schemas.openxmlformats.org/presentationml/2006/main">
  <p:tag name="ANGLE" val="2"/>
</p:tagLst>
</file>

<file path=ppt/tags/tag442.xml><?xml version="1.0" encoding="utf-8"?>
<p:tagLst xmlns:p="http://schemas.openxmlformats.org/presentationml/2006/main">
  <p:tag name="ANGLE" val="2"/>
</p:tagLst>
</file>

<file path=ppt/tags/tag443.xml><?xml version="1.0" encoding="utf-8"?>
<p:tagLst xmlns:p="http://schemas.openxmlformats.org/presentationml/2006/main">
  <p:tag name="NAME" val="HalfMoon"/>
</p:tagLst>
</file>

<file path=ppt/tags/tag444.xml><?xml version="1.0" encoding="utf-8"?>
<p:tagLst xmlns:p="http://schemas.openxmlformats.org/presentationml/2006/main">
  <p:tag name="ANGLE" val="3"/>
</p:tagLst>
</file>

<file path=ppt/tags/tag445.xml><?xml version="1.0" encoding="utf-8"?>
<p:tagLst xmlns:p="http://schemas.openxmlformats.org/presentationml/2006/main">
  <p:tag name="ANGLE" val="3"/>
</p:tagLst>
</file>

<file path=ppt/tags/tag446.xml><?xml version="1.0" encoding="utf-8"?>
<p:tagLst xmlns:p="http://schemas.openxmlformats.org/presentationml/2006/main">
  <p:tag name="NAME" val="3QuaterMoon"/>
</p:tagLst>
</file>

<file path=ppt/tags/tag447.xml><?xml version="1.0" encoding="utf-8"?>
<p:tagLst xmlns:p="http://schemas.openxmlformats.org/presentationml/2006/main">
  <p:tag name="ANGLE" val="4"/>
</p:tagLst>
</file>

<file path=ppt/tags/tag448.xml><?xml version="1.0" encoding="utf-8"?>
<p:tagLst xmlns:p="http://schemas.openxmlformats.org/presentationml/2006/main">
  <p:tag name="ANGLE" val="4"/>
</p:tagLst>
</file>

<file path=ppt/tags/tag449.xml><?xml version="1.0" encoding="utf-8"?>
<p:tagLst xmlns:p="http://schemas.openxmlformats.org/presentationml/2006/main">
  <p:tag name="NAME" val="FullMoon"/>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i*2"/>
  <p:tag name="KSO_WM_UNIT_LAYERLEVEL" val="1"/>
  <p:tag name="KSO_WM_TAG_VERSION" val="3.0"/>
  <p:tag name="KSO_WM_BEAUTIFY_FLAG" val="#wm#"/>
  <p:tag name="KSO_WM_UNIT_TYPE" val="i"/>
  <p:tag name="KSO_WM_UNIT_INDEX" val="2"/>
</p:tagLst>
</file>

<file path=ppt/tags/tag450.xml><?xml version="1.0" encoding="utf-8"?>
<p:tagLst xmlns:p="http://schemas.openxmlformats.org/presentationml/2006/main">
  <p:tag name="ANGLE" val="5"/>
</p:tagLst>
</file>

<file path=ppt/tags/tag451.xml><?xml version="1.0" encoding="utf-8"?>
<p:tagLst xmlns:p="http://schemas.openxmlformats.org/presentationml/2006/main">
  <p:tag name="ANGLE" val="5"/>
</p:tagLst>
</file>

<file path=ppt/tags/tag452.xml><?xml version="1.0" encoding="utf-8"?>
<p:tagLst xmlns:p="http://schemas.openxmlformats.org/presentationml/2006/main">
  <p:tag name="THINKCELLSHAPEDONOTDELETE" val="thinkcellActiveDocDoNotDelete"/>
</p:tagLst>
</file>

<file path=ppt/tags/tag453.xml><?xml version="1.0" encoding="utf-8"?>
<p:tagLst xmlns:p="http://schemas.openxmlformats.org/presentationml/2006/main">
  <p:tag name="THINKCELLSHAPEDONOTDELETE" val="thinkcellActiveDocDoNotDelete"/>
</p:tagLst>
</file>

<file path=ppt/tags/tag454.xml><?xml version="1.0" encoding="utf-8"?>
<p:tagLst xmlns:p="http://schemas.openxmlformats.org/presentationml/2006/main">
  <p:tag name="THINKCELLSHAPEDONOTDELETE" val="thinkcellActiveDocDoNotDelete"/>
</p:tagLst>
</file>

<file path=ppt/tags/tag455.xml><?xml version="1.0" encoding="utf-8"?>
<p:tagLst xmlns:p="http://schemas.openxmlformats.org/presentationml/2006/main">
  <p:tag name="THINKCELLSHAPEDONOTDELETE" val="tEFjjKwKmteTkkbYM_UO1dQ"/>
</p:tagLst>
</file>

<file path=ppt/tags/tag456.xml><?xml version="1.0" encoding="utf-8"?>
<p:tagLst xmlns:p="http://schemas.openxmlformats.org/presentationml/2006/main">
  <p:tag name="THINKCELLSHAPEDONOTDELETE" val="thinkcellActiveDocDoNotDelete"/>
</p:tagLst>
</file>

<file path=ppt/tags/tag457.xml><?xml version="1.0" encoding="utf-8"?>
<p:tagLst xmlns:p="http://schemas.openxmlformats.org/presentationml/2006/main">
  <p:tag name="THINKCELLSHAPEDONOTDELETE" val="thinkcellActiveDocDoNotDelete"/>
</p:tagLst>
</file>

<file path=ppt/tags/tag458.xml><?xml version="1.0" encoding="utf-8"?>
<p:tagLst xmlns:p="http://schemas.openxmlformats.org/presentationml/2006/main">
  <p:tag name="THINKCELLSHAPEDONOTDELETE" val="tOhDw2KbPEcrz2HIm6dngDA"/>
</p:tagLst>
</file>

<file path=ppt/tags/tag459.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3.0"/>
  <p:tag name="KSO_WM_BEAUTIFY_FLAG" val="#wm#"/>
</p:tagLst>
</file>

<file path=ppt/tags/tag460.xml><?xml version="1.0" encoding="utf-8"?>
<p:tagLst xmlns:p="http://schemas.openxmlformats.org/presentationml/2006/main">
  <p:tag name="THINKCELLSHAPEDONOTDELETE" val="taR7JQoq12udzmYLgzAeWOg"/>
</p:tagLst>
</file>

<file path=ppt/tags/tag461.xml><?xml version="1.0" encoding="utf-8"?>
<p:tagLst xmlns:p="http://schemas.openxmlformats.org/presentationml/2006/main">
  <p:tag name="THINKCELLSHAPEDONOTDELETE" val="thinkcellActiveDocDoNotDelete"/>
</p:tagLst>
</file>

<file path=ppt/tags/tag462.xml><?xml version="1.0" encoding="utf-8"?>
<p:tagLst xmlns:p="http://schemas.openxmlformats.org/presentationml/2006/main">
  <p:tag name="NAME" val="Moon"/>
</p:tagLst>
</file>

<file path=ppt/tags/tag463.xml><?xml version="1.0" encoding="utf-8"?>
<p:tagLst xmlns:p="http://schemas.openxmlformats.org/presentationml/2006/main">
  <p:tag name="NAME" val="MoonShape"/>
  <p:tag name="ANGLE" val="1"/>
</p:tagLst>
</file>

<file path=ppt/tags/tag464.xml><?xml version="1.0" encoding="utf-8"?>
<p:tagLst xmlns:p="http://schemas.openxmlformats.org/presentationml/2006/main">
  <p:tag name="NAME" val="MoonHalfShape"/>
  <p:tag name="ANGLE" val="1"/>
</p:tagLst>
</file>

<file path=ppt/tags/tag465.xml><?xml version="1.0" encoding="utf-8"?>
<p:tagLst xmlns:p="http://schemas.openxmlformats.org/presentationml/2006/main">
  <p:tag name="NAME" val="Moon"/>
</p:tagLst>
</file>

<file path=ppt/tags/tag466.xml><?xml version="1.0" encoding="utf-8"?>
<p:tagLst xmlns:p="http://schemas.openxmlformats.org/presentationml/2006/main">
  <p:tag name="NAME" val="MoonShape"/>
  <p:tag name="ANGLE" val="2"/>
</p:tagLst>
</file>

<file path=ppt/tags/tag467.xml><?xml version="1.0" encoding="utf-8"?>
<p:tagLst xmlns:p="http://schemas.openxmlformats.org/presentationml/2006/main">
  <p:tag name="NAME" val="MoonHalfShape"/>
  <p:tag name="ANGLE" val="2"/>
</p:tagLst>
</file>

<file path=ppt/tags/tag468.xml><?xml version="1.0" encoding="utf-8"?>
<p:tagLst xmlns:p="http://schemas.openxmlformats.org/presentationml/2006/main">
  <p:tag name="NAME" val="Moon"/>
</p:tagLst>
</file>

<file path=ppt/tags/tag469.xml><?xml version="1.0" encoding="utf-8"?>
<p:tagLst xmlns:p="http://schemas.openxmlformats.org/presentationml/2006/main">
  <p:tag name="NAME" val="MoonShape"/>
  <p:tag name="ANGLE" val="4"/>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3.0"/>
  <p:tag name="KSO_WM_BEAUTIFY_FLAG" val="#wm#"/>
</p:tagLst>
</file>

<file path=ppt/tags/tag470.xml><?xml version="1.0" encoding="utf-8"?>
<p:tagLst xmlns:p="http://schemas.openxmlformats.org/presentationml/2006/main">
  <p:tag name="NAME" val="MoonHalfShape"/>
  <p:tag name="ANGLE" val="4"/>
</p:tagLst>
</file>

<file path=ppt/tags/tag471.xml><?xml version="1.0" encoding="utf-8"?>
<p:tagLst xmlns:p="http://schemas.openxmlformats.org/presentationml/2006/main">
  <p:tag name="NAME" val="Moon"/>
</p:tagLst>
</file>

<file path=ppt/tags/tag472.xml><?xml version="1.0" encoding="utf-8"?>
<p:tagLst xmlns:p="http://schemas.openxmlformats.org/presentationml/2006/main">
  <p:tag name="NAME" val="MoonShape"/>
  <p:tag name="ANGLE" val="5"/>
</p:tagLst>
</file>

<file path=ppt/tags/tag473.xml><?xml version="1.0" encoding="utf-8"?>
<p:tagLst xmlns:p="http://schemas.openxmlformats.org/presentationml/2006/main">
  <p:tag name="NAME" val="MoonHalfShape"/>
  <p:tag name="ANGLE" val="5"/>
</p:tagLst>
</file>

<file path=ppt/tags/tag474.xml><?xml version="1.0" encoding="utf-8"?>
<p:tagLst xmlns:p="http://schemas.openxmlformats.org/presentationml/2006/main">
  <p:tag name="NAME" val="Moon"/>
</p:tagLst>
</file>

<file path=ppt/tags/tag475.xml><?xml version="1.0" encoding="utf-8"?>
<p:tagLst xmlns:p="http://schemas.openxmlformats.org/presentationml/2006/main">
  <p:tag name="NAME" val="MoonShape"/>
  <p:tag name="ANGLE" val="3"/>
</p:tagLst>
</file>

<file path=ppt/tags/tag476.xml><?xml version="1.0" encoding="utf-8"?>
<p:tagLst xmlns:p="http://schemas.openxmlformats.org/presentationml/2006/main">
  <p:tag name="NAME" val="MoonHalfShape"/>
  <p:tag name="ANGLE" val="4"/>
</p:tagLst>
</file>

<file path=ppt/tags/tag477.xml><?xml version="1.0" encoding="utf-8"?>
<p:tagLst xmlns:p="http://schemas.openxmlformats.org/presentationml/2006/main">
  <p:tag name="NAME" val="EmptyMoon"/>
</p:tagLst>
</file>

<file path=ppt/tags/tag478.xml><?xml version="1.0" encoding="utf-8"?>
<p:tagLst xmlns:p="http://schemas.openxmlformats.org/presentationml/2006/main">
  <p:tag name="ANGLE" val="1"/>
</p:tagLst>
</file>

<file path=ppt/tags/tag479.xml><?xml version="1.0" encoding="utf-8"?>
<p:tagLst xmlns:p="http://schemas.openxmlformats.org/presentationml/2006/main">
  <p:tag name="ANGLE" val="1"/>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3.0"/>
  <p:tag name="KSO_WM_BEAUTIFY_FLAG" val="#wm#"/>
</p:tagLst>
</file>

<file path=ppt/tags/tag480.xml><?xml version="1.0" encoding="utf-8"?>
<p:tagLst xmlns:p="http://schemas.openxmlformats.org/presentationml/2006/main">
  <p:tag name="NAME" val="QuaterMoon"/>
</p:tagLst>
</file>

<file path=ppt/tags/tag481.xml><?xml version="1.0" encoding="utf-8"?>
<p:tagLst xmlns:p="http://schemas.openxmlformats.org/presentationml/2006/main">
  <p:tag name="ANGLE" val="2"/>
</p:tagLst>
</file>

<file path=ppt/tags/tag482.xml><?xml version="1.0" encoding="utf-8"?>
<p:tagLst xmlns:p="http://schemas.openxmlformats.org/presentationml/2006/main">
  <p:tag name="ANGLE" val="2"/>
</p:tagLst>
</file>

<file path=ppt/tags/tag483.xml><?xml version="1.0" encoding="utf-8"?>
<p:tagLst xmlns:p="http://schemas.openxmlformats.org/presentationml/2006/main">
  <p:tag name="NAME" val="HalfMoon"/>
</p:tagLst>
</file>

<file path=ppt/tags/tag484.xml><?xml version="1.0" encoding="utf-8"?>
<p:tagLst xmlns:p="http://schemas.openxmlformats.org/presentationml/2006/main">
  <p:tag name="ANGLE" val="3"/>
</p:tagLst>
</file>

<file path=ppt/tags/tag485.xml><?xml version="1.0" encoding="utf-8"?>
<p:tagLst xmlns:p="http://schemas.openxmlformats.org/presentationml/2006/main">
  <p:tag name="ANGLE" val="3"/>
</p:tagLst>
</file>

<file path=ppt/tags/tag486.xml><?xml version="1.0" encoding="utf-8"?>
<p:tagLst xmlns:p="http://schemas.openxmlformats.org/presentationml/2006/main">
  <p:tag name="NAME" val="3QuaterMoon"/>
</p:tagLst>
</file>

<file path=ppt/tags/tag487.xml><?xml version="1.0" encoding="utf-8"?>
<p:tagLst xmlns:p="http://schemas.openxmlformats.org/presentationml/2006/main">
  <p:tag name="ANGLE" val="4"/>
</p:tagLst>
</file>

<file path=ppt/tags/tag488.xml><?xml version="1.0" encoding="utf-8"?>
<p:tagLst xmlns:p="http://schemas.openxmlformats.org/presentationml/2006/main">
  <p:tag name="ANGLE" val="4"/>
</p:tagLst>
</file>

<file path=ppt/tags/tag489.xml><?xml version="1.0" encoding="utf-8"?>
<p:tagLst xmlns:p="http://schemas.openxmlformats.org/presentationml/2006/main">
  <p:tag name="NAME" val="FullMoon"/>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i*1"/>
  <p:tag name="KSO_WM_UNIT_LAYERLEVEL" val="1"/>
  <p:tag name="KSO_WM_TAG_VERSION" val="3.0"/>
  <p:tag name="KSO_WM_BEAUTIFY_FLAG" val="#wm#"/>
  <p:tag name="KSO_WM_UNIT_TYPE" val="i"/>
  <p:tag name="KSO_WM_UNIT_INDEX" val="1"/>
</p:tagLst>
</file>

<file path=ppt/tags/tag490.xml><?xml version="1.0" encoding="utf-8"?>
<p:tagLst xmlns:p="http://schemas.openxmlformats.org/presentationml/2006/main">
  <p:tag name="ANGLE" val="5"/>
</p:tagLst>
</file>

<file path=ppt/tags/tag491.xml><?xml version="1.0" encoding="utf-8"?>
<p:tagLst xmlns:p="http://schemas.openxmlformats.org/presentationml/2006/main">
  <p:tag name="ANGLE" val="5"/>
</p:tagLst>
</file>

<file path=ppt/tags/tag492.xml><?xml version="1.0" encoding="utf-8"?>
<p:tagLst xmlns:p="http://schemas.openxmlformats.org/presentationml/2006/main">
  <p:tag name="THINKCELLSHAPEDONOTDELETE" val="thinkcellActiveDocDoNotDelete"/>
</p:tagLst>
</file>

<file path=ppt/tags/tag493.xml><?xml version="1.0" encoding="utf-8"?>
<p:tagLst xmlns:p="http://schemas.openxmlformats.org/presentationml/2006/main">
  <p:tag name="THINKCELLSHAPEDONOTDELETE" val="thinkcellActiveDocDoNotDelete"/>
</p:tagLst>
</file>

<file path=ppt/tags/tag494.xml><?xml version="1.0" encoding="utf-8"?>
<p:tagLst xmlns:p="http://schemas.openxmlformats.org/presentationml/2006/main">
  <p:tag name="THINKCELLSHAPEDONOTDELETE" val="thinkcellActiveDocDoNotDelete"/>
</p:tagLst>
</file>

<file path=ppt/tags/tag495.xml><?xml version="1.0" encoding="utf-8"?>
<p:tagLst xmlns:p="http://schemas.openxmlformats.org/presentationml/2006/main">
  <p:tag name="THINKCELLSHAPEDONOTDELETE" val="tOhDw2KbPEcrz2HIm6dngDA"/>
</p:tagLst>
</file>

<file path=ppt/tags/tag496.xml><?xml version="1.0" encoding="utf-8"?>
<p:tagLst xmlns:p="http://schemas.openxmlformats.org/presentationml/2006/main">
  <p:tag name="THINKCELLSHAPEDONOTDELETE" val="thinkcellActiveDocDoNotDelete"/>
</p:tagLst>
</file>

<file path=ppt/tags/tag497.xml><?xml version="1.0" encoding="utf-8"?>
<p:tagLst xmlns:p="http://schemas.openxmlformats.org/presentationml/2006/main">
  <p:tag name="THINKCELLSHAPEDONOTDELETE" val="thinkcellActiveDocDoNotDelete"/>
</p:tagLst>
</file>

<file path=ppt/tags/tag498.xml><?xml version="1.0" encoding="utf-8"?>
<p:tagLst xmlns:p="http://schemas.openxmlformats.org/presentationml/2006/main">
  <p:tag name="THINKCELLSHAPEDONOTDELETE" val="thinkcellActiveDocDoNotDelete"/>
</p:tagLst>
</file>

<file path=ppt/tags/tag49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KSO_WM_UNIT_ISCONTENTSTITLE" val="0"/>
  <p:tag name="KSO_WM_UNIT_ISNUMDGMTITLE" val="0"/>
  <p:tag name="KSO_WM_UNIT_PRESET_TEXT" val="WPS,a click to unlimited possibilities"/>
  <p:tag name="KSO_WM_UNIT_NOCLEAR" val="0"/>
  <p:tag name="KSO_WM_UNIT_VALUE" val="17"/>
  <p:tag name="KSO_WM_UNIT_HIGHLIGHT" val="0"/>
  <p:tag name="KSO_WM_UNIT_COMPATIBLE" val="0"/>
  <p:tag name="KSO_WM_UNIT_DIAGRAM_ISNUMVISUAL" val="0"/>
  <p:tag name="KSO_WM_UNIT_DIAGRAM_ISREFERUNIT" val="0"/>
  <p:tag name="KSO_WM_UNIT_TYPE" val="b"/>
  <p:tag name="KSO_WM_UNIT_INDEX" val="1"/>
  <p:tag name="KSO_WM_UNIT_ID" val="_1*b*1"/>
  <p:tag name="KSO_WM_UNIT_LAYERLEVEL" val="1"/>
  <p:tag name="KSO_WM_TAG_VERSION" val="3.0"/>
  <p:tag name="KSO_WM_BEAUTIFY_FLAG" val="#wm#"/>
  <p:tag name="KSO_WM_UNIT_TEXT_FILL_FORE_SCHEMECOLOR_INDEX_BRIGHTNESS" val="0"/>
  <p:tag name="KSO_WM_UNIT_TEXT_FILL_FORE_SCHEMECOLOR_INDEX" val="6"/>
  <p:tag name="KSO_WM_UNIT_TEXT_FILL_TYPE" val="1"/>
  <p:tag name="KSO_WM_UNIT_CONTENT_GROUP_TYPE" val="contentchip"/>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i*2"/>
  <p:tag name="KSO_WM_UNIT_LAYERLEVEL" val="1"/>
  <p:tag name="KSO_WM_TAG_VERSION" val="3.0"/>
  <p:tag name="KSO_WM_BEAUTIFY_FLAG" val="#wm#"/>
  <p:tag name="KSO_WM_UNIT_TYPE" val="i"/>
  <p:tag name="KSO_WM_UNIT_INDEX" val="2"/>
</p:tagLst>
</file>

<file path=ppt/tags/tag500.xml><?xml version="1.0" encoding="utf-8"?>
<p:tagLst xmlns:p="http://schemas.openxmlformats.org/presentationml/2006/main">
  <p:tag name="THINKCELLSHAPEDONOTDELETE" val="taR7JQoq12udzmYLgzAeWOg"/>
</p:tagLst>
</file>

<file path=ppt/tags/tag501.xml><?xml version="1.0" encoding="utf-8"?>
<p:tagLst xmlns:p="http://schemas.openxmlformats.org/presentationml/2006/main">
  <p:tag name="THINKCELLSHAPEDONOTDELETE" val="thinkcellActiveDocDoNotDelete"/>
</p:tagLst>
</file>

<file path=ppt/tags/tag502.xml><?xml version="1.0" encoding="utf-8"?>
<p:tagLst xmlns:p="http://schemas.openxmlformats.org/presentationml/2006/main">
  <p:tag name="THINKCELLSHAPEDONOTDELETE" val="tdwVxRLg8JN7T_AjFd2WF3Q"/>
</p:tagLst>
</file>

<file path=ppt/tags/tag503.xml><?xml version="1.0" encoding="utf-8"?>
<p:tagLst xmlns:p="http://schemas.openxmlformats.org/presentationml/2006/main">
  <p:tag name="THINKCELLSHAPEDONOTDELETE" val="thinkcellActiveDocDoNotDelete"/>
</p:tagLst>
</file>

<file path=ppt/tags/tag504.xml><?xml version="1.0" encoding="utf-8"?>
<p:tagLst xmlns:p="http://schemas.openxmlformats.org/presentationml/2006/main">
  <p:tag name="THINKCELLSHAPEDONOTDELETE" val="tEFjjKwKmteTkkbYM_UO1dQ"/>
</p:tagLst>
</file>

<file path=ppt/tags/tag505.xml><?xml version="1.0" encoding="utf-8"?>
<p:tagLst xmlns:p="http://schemas.openxmlformats.org/presentationml/2006/main">
  <p:tag name="THINKCELLSHAPEDONOTDELETE" val="thinkcellActiveDocDoNotDelete"/>
</p:tagLst>
</file>

<file path=ppt/tags/tag506.xml><?xml version="1.0" encoding="utf-8"?>
<p:tagLst xmlns:p="http://schemas.openxmlformats.org/presentationml/2006/main">
  <p:tag name="THINKCELLSHAPEDONOTDELETE" val="tEFjjKwKmteTkkbYM_UO1dQ"/>
</p:tagLst>
</file>

<file path=ppt/tags/tag507.xml><?xml version="1.0" encoding="utf-8"?>
<p:tagLst xmlns:p="http://schemas.openxmlformats.org/presentationml/2006/main">
  <p:tag name="THINKCELLSHAPEDONOTDELETE" val="thinkcellActiveDocDoNotDelete"/>
</p:tagLst>
</file>

<file path=ppt/tags/tag508.xml><?xml version="1.0" encoding="utf-8"?>
<p:tagLst xmlns:p="http://schemas.openxmlformats.org/presentationml/2006/main">
  <p:tag name="NAME" val="Moon"/>
</p:tagLst>
</file>

<file path=ppt/tags/tag509.xml><?xml version="1.0" encoding="utf-8"?>
<p:tagLst xmlns:p="http://schemas.openxmlformats.org/presentationml/2006/main">
  <p:tag name="NAME" val="MoonShape"/>
  <p:tag name="ANGLE" val="1"/>
</p:tagLst>
</file>

<file path=ppt/tags/tag51.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f"/>
  <p:tag name="KSO_WM_UNIT_INDEX" val="1"/>
  <p:tag name="KSO_WM_UNIT_ID" val="_9*f*1"/>
  <p:tag name="KSO_WM_UNIT_LAYERLEVEL" val="1"/>
  <p:tag name="KSO_WM_TAG_VERSION" val="3.0"/>
  <p:tag name="KSO_WM_BEAUTIFY_FLAG" val="#wm#"/>
  <p:tag name="KSO_WM_UNIT_PRESET_TEXT" val="单击此处编辑母版文本样式&#10;第二级&#10;第三级&#10;第四级&#10;第五级"/>
  <p:tag name="KSO_WM_UNIT_TEXT_LAYER_COUNT" val="1"/>
</p:tagLst>
</file>

<file path=ppt/tags/tag510.xml><?xml version="1.0" encoding="utf-8"?>
<p:tagLst xmlns:p="http://schemas.openxmlformats.org/presentationml/2006/main">
  <p:tag name="NAME" val="MoonHalfShape"/>
  <p:tag name="ANGLE" val="1"/>
</p:tagLst>
</file>

<file path=ppt/tags/tag511.xml><?xml version="1.0" encoding="utf-8"?>
<p:tagLst xmlns:p="http://schemas.openxmlformats.org/presentationml/2006/main">
  <p:tag name="NAME" val="Moon"/>
</p:tagLst>
</file>

<file path=ppt/tags/tag512.xml><?xml version="1.0" encoding="utf-8"?>
<p:tagLst xmlns:p="http://schemas.openxmlformats.org/presentationml/2006/main">
  <p:tag name="NAME" val="MoonShape"/>
  <p:tag name="ANGLE" val="2"/>
</p:tagLst>
</file>

<file path=ppt/tags/tag513.xml><?xml version="1.0" encoding="utf-8"?>
<p:tagLst xmlns:p="http://schemas.openxmlformats.org/presentationml/2006/main">
  <p:tag name="NAME" val="MoonHalfShape"/>
  <p:tag name="ANGLE" val="2"/>
</p:tagLst>
</file>

<file path=ppt/tags/tag514.xml><?xml version="1.0" encoding="utf-8"?>
<p:tagLst xmlns:p="http://schemas.openxmlformats.org/presentationml/2006/main">
  <p:tag name="NAME" val="Moon"/>
</p:tagLst>
</file>

<file path=ppt/tags/tag515.xml><?xml version="1.0" encoding="utf-8"?>
<p:tagLst xmlns:p="http://schemas.openxmlformats.org/presentationml/2006/main">
  <p:tag name="NAME" val="MoonShape"/>
  <p:tag name="ANGLE" val="4"/>
</p:tagLst>
</file>

<file path=ppt/tags/tag516.xml><?xml version="1.0" encoding="utf-8"?>
<p:tagLst xmlns:p="http://schemas.openxmlformats.org/presentationml/2006/main">
  <p:tag name="NAME" val="MoonHalfShape"/>
  <p:tag name="ANGLE" val="4"/>
</p:tagLst>
</file>

<file path=ppt/tags/tag517.xml><?xml version="1.0" encoding="utf-8"?>
<p:tagLst xmlns:p="http://schemas.openxmlformats.org/presentationml/2006/main">
  <p:tag name="NAME" val="Moon"/>
</p:tagLst>
</file>

<file path=ppt/tags/tag518.xml><?xml version="1.0" encoding="utf-8"?>
<p:tagLst xmlns:p="http://schemas.openxmlformats.org/presentationml/2006/main">
  <p:tag name="NAME" val="MoonShape"/>
  <p:tag name="ANGLE" val="5"/>
</p:tagLst>
</file>

<file path=ppt/tags/tag519.xml><?xml version="1.0" encoding="utf-8"?>
<p:tagLst xmlns:p="http://schemas.openxmlformats.org/presentationml/2006/main">
  <p:tag name="NAME" val="MoonHalfShape"/>
  <p:tag name="ANGLE" val="5"/>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3.0"/>
  <p:tag name="KSO_WM_BEAUTIFY_FLAG" val="#wm#"/>
</p:tagLst>
</file>

<file path=ppt/tags/tag520.xml><?xml version="1.0" encoding="utf-8"?>
<p:tagLst xmlns:p="http://schemas.openxmlformats.org/presentationml/2006/main">
  <p:tag name="NAME" val="Moon"/>
</p:tagLst>
</file>

<file path=ppt/tags/tag521.xml><?xml version="1.0" encoding="utf-8"?>
<p:tagLst xmlns:p="http://schemas.openxmlformats.org/presentationml/2006/main">
  <p:tag name="NAME" val="MoonShape"/>
  <p:tag name="ANGLE" val="3"/>
</p:tagLst>
</file>

<file path=ppt/tags/tag522.xml><?xml version="1.0" encoding="utf-8"?>
<p:tagLst xmlns:p="http://schemas.openxmlformats.org/presentationml/2006/main">
  <p:tag name="NAME" val="MoonHalfShape"/>
  <p:tag name="ANGLE" val="4"/>
</p:tagLst>
</file>

<file path=ppt/tags/tag523.xml><?xml version="1.0" encoding="utf-8"?>
<p:tagLst xmlns:p="http://schemas.openxmlformats.org/presentationml/2006/main">
  <p:tag name="NAME" val="EmptyMoon"/>
</p:tagLst>
</file>

<file path=ppt/tags/tag524.xml><?xml version="1.0" encoding="utf-8"?>
<p:tagLst xmlns:p="http://schemas.openxmlformats.org/presentationml/2006/main">
  <p:tag name="ANGLE" val="1"/>
</p:tagLst>
</file>

<file path=ppt/tags/tag525.xml><?xml version="1.0" encoding="utf-8"?>
<p:tagLst xmlns:p="http://schemas.openxmlformats.org/presentationml/2006/main">
  <p:tag name="ANGLE" val="1"/>
</p:tagLst>
</file>

<file path=ppt/tags/tag526.xml><?xml version="1.0" encoding="utf-8"?>
<p:tagLst xmlns:p="http://schemas.openxmlformats.org/presentationml/2006/main">
  <p:tag name="NAME" val="QuaterMoon"/>
</p:tagLst>
</file>

<file path=ppt/tags/tag527.xml><?xml version="1.0" encoding="utf-8"?>
<p:tagLst xmlns:p="http://schemas.openxmlformats.org/presentationml/2006/main">
  <p:tag name="ANGLE" val="2"/>
</p:tagLst>
</file>

<file path=ppt/tags/tag528.xml><?xml version="1.0" encoding="utf-8"?>
<p:tagLst xmlns:p="http://schemas.openxmlformats.org/presentationml/2006/main">
  <p:tag name="ANGLE" val="2"/>
</p:tagLst>
</file>

<file path=ppt/tags/tag529.xml><?xml version="1.0" encoding="utf-8"?>
<p:tagLst xmlns:p="http://schemas.openxmlformats.org/presentationml/2006/main">
  <p:tag name="NAME" val="HalfMoon"/>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3.0"/>
  <p:tag name="KSO_WM_BEAUTIFY_FLAG" val="#wm#"/>
</p:tagLst>
</file>

<file path=ppt/tags/tag530.xml><?xml version="1.0" encoding="utf-8"?>
<p:tagLst xmlns:p="http://schemas.openxmlformats.org/presentationml/2006/main">
  <p:tag name="ANGLE" val="3"/>
</p:tagLst>
</file>

<file path=ppt/tags/tag531.xml><?xml version="1.0" encoding="utf-8"?>
<p:tagLst xmlns:p="http://schemas.openxmlformats.org/presentationml/2006/main">
  <p:tag name="ANGLE" val="3"/>
</p:tagLst>
</file>

<file path=ppt/tags/tag532.xml><?xml version="1.0" encoding="utf-8"?>
<p:tagLst xmlns:p="http://schemas.openxmlformats.org/presentationml/2006/main">
  <p:tag name="NAME" val="3QuaterMoon"/>
</p:tagLst>
</file>

<file path=ppt/tags/tag533.xml><?xml version="1.0" encoding="utf-8"?>
<p:tagLst xmlns:p="http://schemas.openxmlformats.org/presentationml/2006/main">
  <p:tag name="ANGLE" val="4"/>
</p:tagLst>
</file>

<file path=ppt/tags/tag534.xml><?xml version="1.0" encoding="utf-8"?>
<p:tagLst xmlns:p="http://schemas.openxmlformats.org/presentationml/2006/main">
  <p:tag name="ANGLE" val="4"/>
</p:tagLst>
</file>

<file path=ppt/tags/tag535.xml><?xml version="1.0" encoding="utf-8"?>
<p:tagLst xmlns:p="http://schemas.openxmlformats.org/presentationml/2006/main">
  <p:tag name="NAME" val="FullMoon"/>
</p:tagLst>
</file>

<file path=ppt/tags/tag536.xml><?xml version="1.0" encoding="utf-8"?>
<p:tagLst xmlns:p="http://schemas.openxmlformats.org/presentationml/2006/main">
  <p:tag name="ANGLE" val="5"/>
</p:tagLst>
</file>

<file path=ppt/tags/tag537.xml><?xml version="1.0" encoding="utf-8"?>
<p:tagLst xmlns:p="http://schemas.openxmlformats.org/presentationml/2006/main">
  <p:tag name="ANGLE" val="5"/>
</p:tagLst>
</file>

<file path=ppt/tags/tag538.xml><?xml version="1.0" encoding="utf-8"?>
<p:tagLst xmlns:p="http://schemas.openxmlformats.org/presentationml/2006/main">
  <p:tag name="THINKCELLSHAPEDONOTDELETE" val="thinkcellActiveDocDoNotDelete"/>
</p:tagLst>
</file>

<file path=ppt/tags/tag539.xml><?xml version="1.0" encoding="utf-8"?>
<p:tagLst xmlns:p="http://schemas.openxmlformats.org/presentationml/2006/main">
  <p:tag name="THINKCELLSHAPEDONOTDELETE" val="thinkcellActiveDocDoNotDelete"/>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3.0"/>
  <p:tag name="KSO_WM_BEAUTIFY_FLAG" val="#wm#"/>
</p:tagLst>
</file>

<file path=ppt/tags/tag540.xml><?xml version="1.0" encoding="utf-8"?>
<p:tagLst xmlns:p="http://schemas.openxmlformats.org/presentationml/2006/main">
  <p:tag name="THINKCELLSHAPEDONOTDELETE" val="thinkcellActiveDocDoNotDelete"/>
</p:tagLst>
</file>

<file path=ppt/tags/tag541.xml><?xml version="1.0" encoding="utf-8"?>
<p:tagLst xmlns:p="http://schemas.openxmlformats.org/presentationml/2006/main">
  <p:tag name="THINKCELLSHAPEDONOTDELETE" val="tEFjjKwKmteTkkbYM_UO1dQ"/>
</p:tagLst>
</file>

<file path=ppt/tags/tag542.xml><?xml version="1.0" encoding="utf-8"?>
<p:tagLst xmlns:p="http://schemas.openxmlformats.org/presentationml/2006/main">
  <p:tag name="THINKCELLSHAPEDONOTDELETE" val="thinkcellActiveDocDoNotDelete"/>
</p:tagLst>
</file>

<file path=ppt/tags/tag543.xml><?xml version="1.0" encoding="utf-8"?>
<p:tagLst xmlns:p="http://schemas.openxmlformats.org/presentationml/2006/main">
  <p:tag name="THINKCELLSHAPEDONOTDELETE" val="thinkcellActiveDocDoNotDelete"/>
</p:tagLst>
</file>

<file path=ppt/tags/tag544.xml><?xml version="1.0" encoding="utf-8"?>
<p:tagLst xmlns:p="http://schemas.openxmlformats.org/presentationml/2006/main">
  <p:tag name="THINKCELLSHAPEDONOTDELETE" val="tOhDw2KbPEcrz2HIm6dngDA"/>
</p:tagLst>
</file>

<file path=ppt/tags/tag545.xml><?xml version="1.0" encoding="utf-8"?>
<p:tagLst xmlns:p="http://schemas.openxmlformats.org/presentationml/2006/main">
  <p:tag name="THINKCELLSHAPEDONOTDELETE" val="thinkcellActiveDocDoNotDelete"/>
</p:tagLst>
</file>

<file path=ppt/tags/tag546.xml><?xml version="1.0" encoding="utf-8"?>
<p:tagLst xmlns:p="http://schemas.openxmlformats.org/presentationml/2006/main">
  <p:tag name="THINKCELLSHAPEDONOTDELETE" val="taR7JQoq12udzmYLgzAeWOg"/>
</p:tagLst>
</file>

<file path=ppt/tags/tag547.xml><?xml version="1.0" encoding="utf-8"?>
<p:tagLst xmlns:p="http://schemas.openxmlformats.org/presentationml/2006/main">
  <p:tag name="THINKCELLSHAPEDONOTDELETE" val="thinkcellActiveDocDoNotDelete"/>
</p:tagLst>
</file>

<file path=ppt/tags/tag548.xml><?xml version="1.0" encoding="utf-8"?>
<p:tagLst xmlns:p="http://schemas.openxmlformats.org/presentationml/2006/main">
  <p:tag name="NAME" val="Moon"/>
</p:tagLst>
</file>

<file path=ppt/tags/tag549.xml><?xml version="1.0" encoding="utf-8"?>
<p:tagLst xmlns:p="http://schemas.openxmlformats.org/presentationml/2006/main">
  <p:tag name="NAME" val="MoonShape"/>
  <p:tag name="ANGLE" val="1"/>
</p:tagLst>
</file>

<file path=ppt/tags/tag55.xml><?xml version="1.0" encoding="utf-8"?>
<p:tagLst xmlns:p="http://schemas.openxmlformats.org/presentationml/2006/main">
  <p:tag name="KSO_WM_UNIT_ISCONTENTSTITLE" val="0"/>
  <p:tag name="KSO_WM_UNIT_ISNUMDGMTITLE" val="0"/>
  <p:tag name="KSO_WM_UNIT_PRESET_TEXT" val="单击选择预设副标题"/>
  <p:tag name="KSO_WM_UNIT_NOCLEAR" val="0"/>
  <p:tag name="KSO_WM_UNIT_VALUE" val="17"/>
  <p:tag name="KSO_WM_UNIT_HIGHLIGHT" val="0"/>
  <p:tag name="KSO_WM_UNIT_COMPATIBLE" val="0"/>
  <p:tag name="KSO_WM_UNIT_DIAGRAM_ISNUMVISUAL" val="0"/>
  <p:tag name="KSO_WM_UNIT_DIAGRAM_ISREFERUNIT" val="0"/>
  <p:tag name="KSO_WM_UNIT_TYPE" val="b"/>
  <p:tag name="KSO_WM_UNIT_INDEX" val="1"/>
  <p:tag name="KSO_WM_UNIT_ID" val="_10*b*1"/>
  <p:tag name="KSO_WM_UNIT_LAYERLEVEL" val="1"/>
  <p:tag name="KSO_WM_TAG_VERSION" val="3.0"/>
  <p:tag name="KSO_WM_BEAUTIFY_FLAG" val="#wm#"/>
  <p:tag name="KSO_WM_UNIT_CONTENT_GROUP_TYPE" val="titlestyle"/>
</p:tagLst>
</file>

<file path=ppt/tags/tag550.xml><?xml version="1.0" encoding="utf-8"?>
<p:tagLst xmlns:p="http://schemas.openxmlformats.org/presentationml/2006/main">
  <p:tag name="NAME" val="MoonHalfShape"/>
  <p:tag name="ANGLE" val="1"/>
</p:tagLst>
</file>

<file path=ppt/tags/tag551.xml><?xml version="1.0" encoding="utf-8"?>
<p:tagLst xmlns:p="http://schemas.openxmlformats.org/presentationml/2006/main">
  <p:tag name="NAME" val="Moon"/>
</p:tagLst>
</file>

<file path=ppt/tags/tag552.xml><?xml version="1.0" encoding="utf-8"?>
<p:tagLst xmlns:p="http://schemas.openxmlformats.org/presentationml/2006/main">
  <p:tag name="NAME" val="MoonShape"/>
  <p:tag name="ANGLE" val="2"/>
</p:tagLst>
</file>

<file path=ppt/tags/tag553.xml><?xml version="1.0" encoding="utf-8"?>
<p:tagLst xmlns:p="http://schemas.openxmlformats.org/presentationml/2006/main">
  <p:tag name="NAME" val="MoonHalfShape"/>
  <p:tag name="ANGLE" val="2"/>
</p:tagLst>
</file>

<file path=ppt/tags/tag554.xml><?xml version="1.0" encoding="utf-8"?>
<p:tagLst xmlns:p="http://schemas.openxmlformats.org/presentationml/2006/main">
  <p:tag name="NAME" val="Moon"/>
</p:tagLst>
</file>

<file path=ppt/tags/tag555.xml><?xml version="1.0" encoding="utf-8"?>
<p:tagLst xmlns:p="http://schemas.openxmlformats.org/presentationml/2006/main">
  <p:tag name="NAME" val="MoonShape"/>
  <p:tag name="ANGLE" val="4"/>
</p:tagLst>
</file>

<file path=ppt/tags/tag556.xml><?xml version="1.0" encoding="utf-8"?>
<p:tagLst xmlns:p="http://schemas.openxmlformats.org/presentationml/2006/main">
  <p:tag name="NAME" val="MoonHalfShape"/>
  <p:tag name="ANGLE" val="4"/>
</p:tagLst>
</file>

<file path=ppt/tags/tag557.xml><?xml version="1.0" encoding="utf-8"?>
<p:tagLst xmlns:p="http://schemas.openxmlformats.org/presentationml/2006/main">
  <p:tag name="NAME" val="Moon"/>
</p:tagLst>
</file>

<file path=ppt/tags/tag558.xml><?xml version="1.0" encoding="utf-8"?>
<p:tagLst xmlns:p="http://schemas.openxmlformats.org/presentationml/2006/main">
  <p:tag name="NAME" val="MoonShape"/>
  <p:tag name="ANGLE" val="5"/>
</p:tagLst>
</file>

<file path=ppt/tags/tag559.xml><?xml version="1.0" encoding="utf-8"?>
<p:tagLst xmlns:p="http://schemas.openxmlformats.org/presentationml/2006/main">
  <p:tag name="NAME" val="MoonHalfShape"/>
  <p:tag name="ANGLE" val="5"/>
</p:tagLst>
</file>

<file path=ppt/tags/tag56.xml><?xml version="1.0" encoding="utf-8"?>
<p:tagLst xmlns:p="http://schemas.openxmlformats.org/presentationml/2006/main">
  <p:tag name="KSO_WM_UNIT_ISCONTENTSTITLE" val="0"/>
  <p:tag name="KSO_WM_UNIT_ISNUMDGMTITLE" val="0"/>
  <p:tag name="KSO_WM_UNIT_PRESET_TEXT" val="正文页-预设标题"/>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10*a*1"/>
  <p:tag name="KSO_WM_UNIT_LAYERLEVEL" val="1"/>
  <p:tag name="KSO_WM_TAG_VERSION" val="3.0"/>
  <p:tag name="KSO_WM_BEAUTIFY_FLAG" val="#wm#"/>
  <p:tag name="KSO_WM_UNIT_CONTENT_GROUP_TYPE" val="titlestyle"/>
</p:tagLst>
</file>

<file path=ppt/tags/tag560.xml><?xml version="1.0" encoding="utf-8"?>
<p:tagLst xmlns:p="http://schemas.openxmlformats.org/presentationml/2006/main">
  <p:tag name="NAME" val="Moon"/>
</p:tagLst>
</file>

<file path=ppt/tags/tag561.xml><?xml version="1.0" encoding="utf-8"?>
<p:tagLst xmlns:p="http://schemas.openxmlformats.org/presentationml/2006/main">
  <p:tag name="NAME" val="MoonShape"/>
  <p:tag name="ANGLE" val="3"/>
</p:tagLst>
</file>

<file path=ppt/tags/tag562.xml><?xml version="1.0" encoding="utf-8"?>
<p:tagLst xmlns:p="http://schemas.openxmlformats.org/presentationml/2006/main">
  <p:tag name="NAME" val="MoonHalfShape"/>
  <p:tag name="ANGLE" val="4"/>
</p:tagLst>
</file>

<file path=ppt/tags/tag563.xml><?xml version="1.0" encoding="utf-8"?>
<p:tagLst xmlns:p="http://schemas.openxmlformats.org/presentationml/2006/main">
  <p:tag name="NAME" val="EmptyMoon"/>
</p:tagLst>
</file>

<file path=ppt/tags/tag564.xml><?xml version="1.0" encoding="utf-8"?>
<p:tagLst xmlns:p="http://schemas.openxmlformats.org/presentationml/2006/main">
  <p:tag name="ANGLE" val="1"/>
</p:tagLst>
</file>

<file path=ppt/tags/tag565.xml><?xml version="1.0" encoding="utf-8"?>
<p:tagLst xmlns:p="http://schemas.openxmlformats.org/presentationml/2006/main">
  <p:tag name="ANGLE" val="1"/>
</p:tagLst>
</file>

<file path=ppt/tags/tag566.xml><?xml version="1.0" encoding="utf-8"?>
<p:tagLst xmlns:p="http://schemas.openxmlformats.org/presentationml/2006/main">
  <p:tag name="NAME" val="QuaterMoon"/>
</p:tagLst>
</file>

<file path=ppt/tags/tag567.xml><?xml version="1.0" encoding="utf-8"?>
<p:tagLst xmlns:p="http://schemas.openxmlformats.org/presentationml/2006/main">
  <p:tag name="ANGLE" val="2"/>
</p:tagLst>
</file>

<file path=ppt/tags/tag568.xml><?xml version="1.0" encoding="utf-8"?>
<p:tagLst xmlns:p="http://schemas.openxmlformats.org/presentationml/2006/main">
  <p:tag name="ANGLE" val="2"/>
</p:tagLst>
</file>

<file path=ppt/tags/tag569.xml><?xml version="1.0" encoding="utf-8"?>
<p:tagLst xmlns:p="http://schemas.openxmlformats.org/presentationml/2006/main">
  <p:tag name="NAME" val="HalfMoon"/>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3.0"/>
  <p:tag name="KSO_WM_BEAUTIFY_FLAG" val="#wm#"/>
</p:tagLst>
</file>

<file path=ppt/tags/tag570.xml><?xml version="1.0" encoding="utf-8"?>
<p:tagLst xmlns:p="http://schemas.openxmlformats.org/presentationml/2006/main">
  <p:tag name="ANGLE" val="3"/>
</p:tagLst>
</file>

<file path=ppt/tags/tag571.xml><?xml version="1.0" encoding="utf-8"?>
<p:tagLst xmlns:p="http://schemas.openxmlformats.org/presentationml/2006/main">
  <p:tag name="ANGLE" val="3"/>
</p:tagLst>
</file>

<file path=ppt/tags/tag572.xml><?xml version="1.0" encoding="utf-8"?>
<p:tagLst xmlns:p="http://schemas.openxmlformats.org/presentationml/2006/main">
  <p:tag name="NAME" val="3QuaterMoon"/>
</p:tagLst>
</file>

<file path=ppt/tags/tag573.xml><?xml version="1.0" encoding="utf-8"?>
<p:tagLst xmlns:p="http://schemas.openxmlformats.org/presentationml/2006/main">
  <p:tag name="ANGLE" val="4"/>
</p:tagLst>
</file>

<file path=ppt/tags/tag574.xml><?xml version="1.0" encoding="utf-8"?>
<p:tagLst xmlns:p="http://schemas.openxmlformats.org/presentationml/2006/main">
  <p:tag name="ANGLE" val="4"/>
</p:tagLst>
</file>

<file path=ppt/tags/tag575.xml><?xml version="1.0" encoding="utf-8"?>
<p:tagLst xmlns:p="http://schemas.openxmlformats.org/presentationml/2006/main">
  <p:tag name="NAME" val="FullMoon"/>
</p:tagLst>
</file>

<file path=ppt/tags/tag576.xml><?xml version="1.0" encoding="utf-8"?>
<p:tagLst xmlns:p="http://schemas.openxmlformats.org/presentationml/2006/main">
  <p:tag name="ANGLE" val="5"/>
</p:tagLst>
</file>

<file path=ppt/tags/tag577.xml><?xml version="1.0" encoding="utf-8"?>
<p:tagLst xmlns:p="http://schemas.openxmlformats.org/presentationml/2006/main">
  <p:tag name="ANGLE" val="5"/>
</p:tagLst>
</file>

<file path=ppt/tags/tag578.xml><?xml version="1.0" encoding="utf-8"?>
<p:tagLst xmlns:p="http://schemas.openxmlformats.org/presentationml/2006/main">
  <p:tag name="THINKCELLSHAPEDONOTDELETE" val="thinkcellActiveDocDoNotDelete"/>
</p:tagLst>
</file>

<file path=ppt/tags/tag579.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3.0"/>
  <p:tag name="KSO_WM_BEAUTIFY_FLAG" val="#wm#"/>
</p:tagLst>
</file>

<file path=ppt/tags/tag580.xml><?xml version="1.0" encoding="utf-8"?>
<p:tagLst xmlns:p="http://schemas.openxmlformats.org/presentationml/2006/main">
  <p:tag name="THINKCELLSHAPEDONOTDELETE" val="thinkcellActiveDocDoNotDelete"/>
</p:tagLst>
</file>

<file path=ppt/tags/tag581.xml><?xml version="1.0" encoding="utf-8"?>
<p:tagLst xmlns:p="http://schemas.openxmlformats.org/presentationml/2006/main">
  <p:tag name="THINKCELLSHAPEDONOTDELETE" val="tEFjjKwKmteTkkbYM_UO1dQ"/>
</p:tagLst>
</file>

<file path=ppt/tags/tag582.xml><?xml version="1.0" encoding="utf-8"?>
<p:tagLst xmlns:p="http://schemas.openxmlformats.org/presentationml/2006/main">
  <p:tag name="THINKCELLSHAPEDONOTDELETE" val="thinkcellActiveDocDoNotDelete"/>
</p:tagLst>
</file>

<file path=ppt/tags/tag583.xml><?xml version="1.0" encoding="utf-8"?>
<p:tagLst xmlns:p="http://schemas.openxmlformats.org/presentationml/2006/main">
  <p:tag name="THINKCELLSHAPEDONOTDELETE" val="thinkcellActiveDocDoNotDelete"/>
</p:tagLst>
</file>

<file path=ppt/tags/tag584.xml><?xml version="1.0" encoding="utf-8"?>
<p:tagLst xmlns:p="http://schemas.openxmlformats.org/presentationml/2006/main">
  <p:tag name="THINKCELLSHAPEDONOTDELETE" val="tOhDw2KbPEcrz2HIm6dngDA"/>
</p:tagLst>
</file>

<file path=ppt/tags/tag585.xml><?xml version="1.0" encoding="utf-8"?>
<p:tagLst xmlns:p="http://schemas.openxmlformats.org/presentationml/2006/main">
  <p:tag name="THINKCELLSHAPEDONOTDELETE" val="thinkcellActiveDocDoNotDelete"/>
</p:tagLst>
</file>

<file path=ppt/tags/tag586.xml><?xml version="1.0" encoding="utf-8"?>
<p:tagLst xmlns:p="http://schemas.openxmlformats.org/presentationml/2006/main">
  <p:tag name="THINKCELLSHAPEDONOTDELETE" val="taR7JQoq12udzmYLgzAeWOg"/>
</p:tagLst>
</file>

<file path=ppt/tags/tag587.xml><?xml version="1.0" encoding="utf-8"?>
<p:tagLst xmlns:p="http://schemas.openxmlformats.org/presentationml/2006/main">
  <p:tag name="THINKCELLSHAPEDONOTDELETE" val="thinkcellActiveDocDoNotDelete"/>
</p:tagLst>
</file>

<file path=ppt/tags/tag588.xml><?xml version="1.0" encoding="utf-8"?>
<p:tagLst xmlns:p="http://schemas.openxmlformats.org/presentationml/2006/main">
  <p:tag name="NAME" val="Moon"/>
</p:tagLst>
</file>

<file path=ppt/tags/tag589.xml><?xml version="1.0" encoding="utf-8"?>
<p:tagLst xmlns:p="http://schemas.openxmlformats.org/presentationml/2006/main">
  <p:tag name="NAME" val="MoonShape"/>
  <p:tag name="ANGLE" val="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3.0"/>
  <p:tag name="KSO_WM_BEAUTIFY_FLAG" val="#wm#"/>
</p:tagLst>
</file>

<file path=ppt/tags/tag590.xml><?xml version="1.0" encoding="utf-8"?>
<p:tagLst xmlns:p="http://schemas.openxmlformats.org/presentationml/2006/main">
  <p:tag name="NAME" val="MoonHalfShape"/>
  <p:tag name="ANGLE" val="1"/>
</p:tagLst>
</file>

<file path=ppt/tags/tag591.xml><?xml version="1.0" encoding="utf-8"?>
<p:tagLst xmlns:p="http://schemas.openxmlformats.org/presentationml/2006/main">
  <p:tag name="NAME" val="Moon"/>
</p:tagLst>
</file>

<file path=ppt/tags/tag592.xml><?xml version="1.0" encoding="utf-8"?>
<p:tagLst xmlns:p="http://schemas.openxmlformats.org/presentationml/2006/main">
  <p:tag name="NAME" val="MoonShape"/>
  <p:tag name="ANGLE" val="2"/>
</p:tagLst>
</file>

<file path=ppt/tags/tag593.xml><?xml version="1.0" encoding="utf-8"?>
<p:tagLst xmlns:p="http://schemas.openxmlformats.org/presentationml/2006/main">
  <p:tag name="NAME" val="MoonHalfShape"/>
  <p:tag name="ANGLE" val="2"/>
</p:tagLst>
</file>

<file path=ppt/tags/tag594.xml><?xml version="1.0" encoding="utf-8"?>
<p:tagLst xmlns:p="http://schemas.openxmlformats.org/presentationml/2006/main">
  <p:tag name="NAME" val="Moon"/>
</p:tagLst>
</file>

<file path=ppt/tags/tag595.xml><?xml version="1.0" encoding="utf-8"?>
<p:tagLst xmlns:p="http://schemas.openxmlformats.org/presentationml/2006/main">
  <p:tag name="NAME" val="MoonShape"/>
  <p:tag name="ANGLE" val="4"/>
</p:tagLst>
</file>

<file path=ppt/tags/tag596.xml><?xml version="1.0" encoding="utf-8"?>
<p:tagLst xmlns:p="http://schemas.openxmlformats.org/presentationml/2006/main">
  <p:tag name="NAME" val="MoonHalfShape"/>
  <p:tag name="ANGLE" val="4"/>
</p:tagLst>
</file>

<file path=ppt/tags/tag597.xml><?xml version="1.0" encoding="utf-8"?>
<p:tagLst xmlns:p="http://schemas.openxmlformats.org/presentationml/2006/main">
  <p:tag name="NAME" val="Moon"/>
</p:tagLst>
</file>

<file path=ppt/tags/tag598.xml><?xml version="1.0" encoding="utf-8"?>
<p:tagLst xmlns:p="http://schemas.openxmlformats.org/presentationml/2006/main">
  <p:tag name="NAME" val="MoonShape"/>
  <p:tag name="ANGLE" val="5"/>
</p:tagLst>
</file>

<file path=ppt/tags/tag599.xml><?xml version="1.0" encoding="utf-8"?>
<p:tagLst xmlns:p="http://schemas.openxmlformats.org/presentationml/2006/main">
  <p:tag name="NAME" val="MoonHalfShape"/>
  <p:tag name="ANGLE" val="5"/>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1"/>
  <p:tag name="KSO_WM_UNIT_LAYERLEVEL" val="1"/>
  <p:tag name="KSO_WM_TAG_VERSION" val="3.0"/>
  <p:tag name="KSO_WM_BEAUTIFY_FLAG" val="#wm#"/>
  <p:tag name="KSO_WM_UNIT_TYPE" val="i"/>
  <p:tag name="KSO_WM_UNIT_INDEX" val="1"/>
</p:tagLst>
</file>

<file path=ppt/tags/tag600.xml><?xml version="1.0" encoding="utf-8"?>
<p:tagLst xmlns:p="http://schemas.openxmlformats.org/presentationml/2006/main">
  <p:tag name="NAME" val="Moon"/>
</p:tagLst>
</file>

<file path=ppt/tags/tag601.xml><?xml version="1.0" encoding="utf-8"?>
<p:tagLst xmlns:p="http://schemas.openxmlformats.org/presentationml/2006/main">
  <p:tag name="NAME" val="MoonShape"/>
  <p:tag name="ANGLE" val="3"/>
</p:tagLst>
</file>

<file path=ppt/tags/tag602.xml><?xml version="1.0" encoding="utf-8"?>
<p:tagLst xmlns:p="http://schemas.openxmlformats.org/presentationml/2006/main">
  <p:tag name="NAME" val="MoonHalfShape"/>
  <p:tag name="ANGLE" val="4"/>
</p:tagLst>
</file>

<file path=ppt/tags/tag603.xml><?xml version="1.0" encoding="utf-8"?>
<p:tagLst xmlns:p="http://schemas.openxmlformats.org/presentationml/2006/main">
  <p:tag name="NAME" val="EmptyMoon"/>
</p:tagLst>
</file>

<file path=ppt/tags/tag604.xml><?xml version="1.0" encoding="utf-8"?>
<p:tagLst xmlns:p="http://schemas.openxmlformats.org/presentationml/2006/main">
  <p:tag name="ANGLE" val="1"/>
</p:tagLst>
</file>

<file path=ppt/tags/tag605.xml><?xml version="1.0" encoding="utf-8"?>
<p:tagLst xmlns:p="http://schemas.openxmlformats.org/presentationml/2006/main">
  <p:tag name="ANGLE" val="1"/>
</p:tagLst>
</file>

<file path=ppt/tags/tag606.xml><?xml version="1.0" encoding="utf-8"?>
<p:tagLst xmlns:p="http://schemas.openxmlformats.org/presentationml/2006/main">
  <p:tag name="NAME" val="QuaterMoon"/>
</p:tagLst>
</file>

<file path=ppt/tags/tag607.xml><?xml version="1.0" encoding="utf-8"?>
<p:tagLst xmlns:p="http://schemas.openxmlformats.org/presentationml/2006/main">
  <p:tag name="ANGLE" val="2"/>
</p:tagLst>
</file>

<file path=ppt/tags/tag608.xml><?xml version="1.0" encoding="utf-8"?>
<p:tagLst xmlns:p="http://schemas.openxmlformats.org/presentationml/2006/main">
  <p:tag name="ANGLE" val="2"/>
</p:tagLst>
</file>

<file path=ppt/tags/tag609.xml><?xml version="1.0" encoding="utf-8"?>
<p:tagLst xmlns:p="http://schemas.openxmlformats.org/presentationml/2006/main">
  <p:tag name="NAME" val="HalfMoon"/>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2"/>
  <p:tag name="KSO_WM_UNIT_LAYERLEVEL" val="1"/>
  <p:tag name="KSO_WM_TAG_VERSION" val="3.0"/>
  <p:tag name="KSO_WM_BEAUTIFY_FLAG" val="#wm#"/>
  <p:tag name="KSO_WM_UNIT_CONTENT_GROUP_TYPE" val="contentchip"/>
  <p:tag name="KSO_WM_UNIT_TYPE" val="i"/>
  <p:tag name="KSO_WM_UNIT_INDEX" val="2"/>
</p:tagLst>
</file>

<file path=ppt/tags/tag610.xml><?xml version="1.0" encoding="utf-8"?>
<p:tagLst xmlns:p="http://schemas.openxmlformats.org/presentationml/2006/main">
  <p:tag name="ANGLE" val="3"/>
</p:tagLst>
</file>

<file path=ppt/tags/tag611.xml><?xml version="1.0" encoding="utf-8"?>
<p:tagLst xmlns:p="http://schemas.openxmlformats.org/presentationml/2006/main">
  <p:tag name="ANGLE" val="3"/>
</p:tagLst>
</file>

<file path=ppt/tags/tag612.xml><?xml version="1.0" encoding="utf-8"?>
<p:tagLst xmlns:p="http://schemas.openxmlformats.org/presentationml/2006/main">
  <p:tag name="NAME" val="3QuaterMoon"/>
</p:tagLst>
</file>

<file path=ppt/tags/tag613.xml><?xml version="1.0" encoding="utf-8"?>
<p:tagLst xmlns:p="http://schemas.openxmlformats.org/presentationml/2006/main">
  <p:tag name="ANGLE" val="4"/>
</p:tagLst>
</file>

<file path=ppt/tags/tag614.xml><?xml version="1.0" encoding="utf-8"?>
<p:tagLst xmlns:p="http://schemas.openxmlformats.org/presentationml/2006/main">
  <p:tag name="ANGLE" val="4"/>
</p:tagLst>
</file>

<file path=ppt/tags/tag615.xml><?xml version="1.0" encoding="utf-8"?>
<p:tagLst xmlns:p="http://schemas.openxmlformats.org/presentationml/2006/main">
  <p:tag name="NAME" val="FullMoon"/>
</p:tagLst>
</file>

<file path=ppt/tags/tag616.xml><?xml version="1.0" encoding="utf-8"?>
<p:tagLst xmlns:p="http://schemas.openxmlformats.org/presentationml/2006/main">
  <p:tag name="ANGLE" val="5"/>
</p:tagLst>
</file>

<file path=ppt/tags/tag617.xml><?xml version="1.0" encoding="utf-8"?>
<p:tagLst xmlns:p="http://schemas.openxmlformats.org/presentationml/2006/main">
  <p:tag name="ANGLE" val="5"/>
</p:tagLst>
</file>

<file path=ppt/tags/tag618.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custom20230258_1*a*1"/>
  <p:tag name="KSO_WM_TEMPLATE_CATEGORY" val="custom"/>
  <p:tag name="KSO_WM_TEMPLATE_INDEX" val="20230258"/>
  <p:tag name="KSO_WM_UNIT_LAYERLEVEL" val="1"/>
  <p:tag name="KSO_WM_TAG_VERSION" val="3.0"/>
  <p:tag name="KSO_WM_BEAUTIFY_FLAG" val="#wm#"/>
  <p:tag name="KSO_WM_UNIT_CONTENT_GROUP_TYPE" val="contentchip"/>
  <p:tag name="KSO_WM_UNIT_TEXT_TYPE" val="1"/>
  <p:tag name="KSO_WM_UNIT_PRESET_TEXT" val="单击添加文档标题"/>
</p:tagLst>
</file>

<file path=ppt/tags/tag619.xml><?xml version="1.0" encoding="utf-8"?>
<p:tagLst xmlns:p="http://schemas.openxmlformats.org/presentationml/2006/main">
  <p:tag name="KSO_WM_SLIDE_ID" val="custom20230258_1"/>
  <p:tag name="KSO_WM_TEMPLATE_SUBCATEGORY" val="29"/>
  <p:tag name="KSO_WM_TEMPLATE_MASTER_TYPE" val="0"/>
  <p:tag name="KSO_WM_TEMPLATE_COLOR_TYPE" val="0"/>
  <p:tag name="KSO_WM_SLIDE_ITEM_CNT" val="0"/>
  <p:tag name="KSO_WM_SLIDE_INDEX" val="1"/>
  <p:tag name="KSO_WM_TAG_VERSION" val="3.0"/>
  <p:tag name="KSO_WM_BEAUTIFY_FLAG" val="#wm#"/>
  <p:tag name="KSO_WM_TEMPLATE_CATEGORY" val="custom"/>
  <p:tag name="KSO_WM_TEMPLATE_INDEX" val="20230258"/>
  <p:tag name="KSO_WM_SLIDE_LAYOUT" val="a_b_f"/>
  <p:tag name="KSO_WM_SLIDE_LAYOUT_CNT" val="1_1_1"/>
  <p:tag name="KSO_WM_SLIDE_TYPE" val="title"/>
  <p:tag name="KSO_WM_SLIDE_SUBTYPE" val="pureTxt"/>
  <p:tag name="KSO_WM_TEMPLATE_THUMBS_INDEX" val="1、9"/>
  <p:tag name="KSO_WM_SLIDE_CONTENT_AREA" val="{&quot;left&quot;:&quot;117.35&quot;,&quot;top&quot;:&quot;84.25&quot;,&quot;width&quot;:&quot;702.45&quot;,&quot;height&quot;:&quot;371.5&quot;}"/>
  <p:tag name="KSO_WM_SLIDE_THEME_ID" val="3302948"/>
  <p:tag name="KSO_WM_SLIDE_THEME_NAME" val="蓝色几何简约风主题"/>
</p:tagLst>
</file>

<file path=ppt/tags/tag62.xml><?xml version="1.0" encoding="utf-8"?>
<p:tagLst xmlns:p="http://schemas.openxmlformats.org/presentationml/2006/main">
  <p:tag name="KSO_WM_UNIT_ISCONTENTSTITLE" val="0"/>
  <p:tag name="KSO_WM_UNIT_ISNUMDGMTITLE" val="0"/>
  <p:tag name="KSO_WM_UNIT_PRESET_TEXT" val="感谢您的观看"/>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_11*a*1"/>
  <p:tag name="KSO_WM_UNIT_LAYERLEVEL" val="1"/>
  <p:tag name="KSO_WM_TAG_VERSION" val="3.0"/>
  <p:tag name="KSO_WM_BEAUTIFY_FLAG" val="#wm#"/>
  <p:tag name="KSO_WM_UNIT_CONTENT_GROUP_TYPE" val="contentchip"/>
</p:tagLst>
</file>

<file path=ppt/tags/tag6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f*1_1_1"/>
  <p:tag name="KSO_WM_TEMPLATE_CATEGORY" val="diagram"/>
  <p:tag name="KSO_WM_TEMPLATE_INDEX" val="20234387"/>
  <p:tag name="KSO_WM_UNIT_LAYERLEVEL" val="1_1_1"/>
  <p:tag name="KSO_WM_TAG_VERSION" val="3.0"/>
  <p:tag name="KSO_WM_UNIT_SUBTYPE" val="a"/>
  <p:tag name="KSO_WM_UNIT_NOCLEAR" val="0"/>
  <p:tag name="KSO_WM_UNIT_VALUE" val="80"/>
  <p:tag name="KSO_WM_UNIT_TYPE" val="q_h_f"/>
  <p:tag name="KSO_WM_UNIT_INDEX" val="1_1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添加文本，简明扼要地阐述您的观点。可酌情增减文字，以便观者准确地理解您传达思想"/>
  <p:tag name="KSO_WM_UNIT_TEXT_FILL_FORE_SCHEMECOLOR_INDEX" val="1"/>
  <p:tag name="KSO_WM_UNIT_TEXT_FILL_TYPE" val="1"/>
  <p:tag name="KSO_WM_UNIT_USESOURCEFORMAT_APPLY" val="0"/>
</p:tagLst>
</file>

<file path=ppt/tags/tag6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1_1"/>
  <p:tag name="KSO_WM_TEMPLATE_CATEGORY" val="diagram"/>
  <p:tag name="KSO_WM_TEMPLATE_INDEX" val="20234387"/>
  <p:tag name="KSO_WM_UNIT_LAYERLEVEL" val="1_1_1"/>
  <p:tag name="KSO_WM_TAG_VERSION" val="3.0"/>
  <p:tag name="KSO_WM_UNIT_SUBTYPE" val="d"/>
  <p:tag name="KSO_WM_UNIT_TYPE" val="q_h_i"/>
  <p:tag name="KSO_WM_UNIT_INDEX" val="1_1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6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f*1_4_1"/>
  <p:tag name="KSO_WM_TEMPLATE_CATEGORY" val="diagram"/>
  <p:tag name="KSO_WM_TEMPLATE_INDEX" val="20234387"/>
  <p:tag name="KSO_WM_UNIT_LAYERLEVEL" val="1_1_1"/>
  <p:tag name="KSO_WM_TAG_VERSION" val="3.0"/>
  <p:tag name="KSO_WM_UNIT_SUBTYPE" val="a"/>
  <p:tag name="KSO_WM_UNIT_NOCLEAR" val="0"/>
  <p:tag name="KSO_WM_UNIT_VALUE" val="80"/>
  <p:tag name="KSO_WM_UNIT_TYPE" val="q_h_f"/>
  <p:tag name="KSO_WM_UNIT_INDEX" val="1_4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添加文本，简明扼要地阐述您的观点。根据需要您可酌情增减文字，以便观者准确地理解您传达思想"/>
  <p:tag name="KSO_WM_UNIT_TEXT_FILL_FORE_SCHEMECOLOR_INDEX" val="1"/>
  <p:tag name="KSO_WM_UNIT_TEXT_FILL_TYPE" val="1"/>
  <p:tag name="KSO_WM_UNIT_USESOURCEFORMAT_APPLY" val="0"/>
</p:tagLst>
</file>

<file path=ppt/tags/tag6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4_1"/>
  <p:tag name="KSO_WM_TEMPLATE_CATEGORY" val="diagram"/>
  <p:tag name="KSO_WM_TEMPLATE_INDEX" val="20234387"/>
  <p:tag name="KSO_WM_UNIT_LAYERLEVEL" val="1_1_1"/>
  <p:tag name="KSO_WM_TAG_VERSION" val="3.0"/>
  <p:tag name="KSO_WM_UNIT_SUBTYPE" val="d"/>
  <p:tag name="KSO_WM_UNIT_TYPE" val="q_h_i"/>
  <p:tag name="KSO_WM_UNIT_INDEX" val="1_4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6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f*1_2_1"/>
  <p:tag name="KSO_WM_TEMPLATE_CATEGORY" val="diagram"/>
  <p:tag name="KSO_WM_TEMPLATE_INDEX" val="20234387"/>
  <p:tag name="KSO_WM_UNIT_LAYERLEVEL" val="1_1_1"/>
  <p:tag name="KSO_WM_TAG_VERSION" val="3.0"/>
  <p:tag name="KSO_WM_UNIT_SUBTYPE" val="a"/>
  <p:tag name="KSO_WM_UNIT_NOCLEAR" val="0"/>
  <p:tag name="KSO_WM_UNIT_VALUE" val="80"/>
  <p:tag name="KSO_WM_UNIT_TYPE" val="q_h_f"/>
  <p:tag name="KSO_WM_UNIT_INDEX" val="1_2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添加文本，简明扼要地阐述您的观点。根据需要您可酌情增减文字，以便观者准确地理解您传达思想"/>
  <p:tag name="KSO_WM_UNIT_TEXT_FILL_FORE_SCHEMECOLOR_INDEX" val="1"/>
  <p:tag name="KSO_WM_UNIT_TEXT_FILL_TYPE" val="1"/>
  <p:tag name="KSO_WM_UNIT_USESOURCEFORMAT_APPLY" val="0"/>
</p:tagLst>
</file>

<file path=ppt/tags/tag6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2_1"/>
  <p:tag name="KSO_WM_TEMPLATE_CATEGORY" val="diagram"/>
  <p:tag name="KSO_WM_TEMPLATE_INDEX" val="20234387"/>
  <p:tag name="KSO_WM_UNIT_LAYERLEVEL" val="1_1_1"/>
  <p:tag name="KSO_WM_TAG_VERSION" val="3.0"/>
  <p:tag name="KSO_WM_UNIT_SUBTYPE" val="d"/>
  <p:tag name="KSO_WM_UNIT_TYPE" val="q_h_i"/>
  <p:tag name="KSO_WM_UNIT_INDEX" val="1_2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6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f*1_3_1"/>
  <p:tag name="KSO_WM_TEMPLATE_CATEGORY" val="diagram"/>
  <p:tag name="KSO_WM_TEMPLATE_INDEX" val="20234387"/>
  <p:tag name="KSO_WM_UNIT_LAYERLEVEL" val="1_1_1"/>
  <p:tag name="KSO_WM_TAG_VERSION" val="3.0"/>
  <p:tag name="KSO_WM_UNIT_SUBTYPE" val="a"/>
  <p:tag name="KSO_WM_UNIT_NOCLEAR" val="0"/>
  <p:tag name="KSO_WM_UNIT_VALUE" val="80"/>
  <p:tag name="KSO_WM_UNIT_TYPE" val="q_h_f"/>
  <p:tag name="KSO_WM_UNIT_INDEX" val="1_3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添加文本，简明扼要地阐述您的观点。可酌情增减文字，以便观者准确地理解您传达思想"/>
  <p:tag name="KSO_WM_UNIT_TEXT_FILL_FORE_SCHEMECOLOR_INDEX" val="1"/>
  <p:tag name="KSO_WM_UNIT_TEXT_FILL_TYPE" val="1"/>
  <p:tag name="KSO_WM_UNIT_USESOURCEFORMAT_APPLY" val="0"/>
</p:tagLst>
</file>

<file path=ppt/tags/tag6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3_1"/>
  <p:tag name="KSO_WM_TEMPLATE_CATEGORY" val="diagram"/>
  <p:tag name="KSO_WM_TEMPLATE_INDEX" val="20234387"/>
  <p:tag name="KSO_WM_UNIT_LAYERLEVEL" val="1_1_1"/>
  <p:tag name="KSO_WM_TAG_VERSION" val="3.0"/>
  <p:tag name="KSO_WM_UNIT_SUBTYPE" val="d"/>
  <p:tag name="KSO_WM_UNIT_TYPE" val="q_h_i"/>
  <p:tag name="KSO_WM_UNIT_INDEX" val="1_3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1"/>
  <p:tag name="KSO_WM_UNIT_TEXT_FILL_TYPE" val="1"/>
  <p:tag name="KSO_WM_UNIT_USESOURCEFORMAT_APPLY" val="0"/>
</p:tagLst>
</file>

<file path=ppt/tags/tag6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1_3"/>
  <p:tag name="KSO_WM_TEMPLATE_CATEGORY" val="diagram"/>
  <p:tag name="KSO_WM_TEMPLATE_INDEX" val="20234387"/>
  <p:tag name="KSO_WM_UNIT_LAYERLEVEL" val="1_1_1"/>
  <p:tag name="KSO_WM_TAG_VERSION" val="3.0"/>
  <p:tag name="KSO_WM_UNIT_TYPE" val="q_h_i"/>
  <p:tag name="KSO_WM_UNIT_INDEX" val="1_1_3"/>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FILL_FORE_SCHEMECOLOR_INDEX" val="2"/>
  <p:tag name="KSO_WM_UNIT_TEXT_FILL_TYPE" val="1"/>
  <p:tag name="KSO_WM_UNIT_USESOURCEFORMAT_APPLY" val="0"/>
</p:tagLst>
</file>

<file path=ppt/tags/tag6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4_3"/>
  <p:tag name="KSO_WM_TEMPLATE_CATEGORY" val="diagram"/>
  <p:tag name="KSO_WM_TEMPLATE_INDEX" val="20234387"/>
  <p:tag name="KSO_WM_UNIT_LAYERLEVEL" val="1_1_1"/>
  <p:tag name="KSO_WM_TAG_VERSION" val="3.0"/>
  <p:tag name="KSO_WM_UNIT_TYPE" val="q_h_i"/>
  <p:tag name="KSO_WM_UNIT_INDEX" val="1_4_3"/>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44999998807907104,&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45"/>
  <p:tag name="KSO_WM_UNIT_TEXT_FILL_FORE_SCHEMECOLOR_INDEX" val="2"/>
  <p:tag name="KSO_WM_UNIT_TEXT_FILL_TYPE" val="1"/>
  <p:tag name="KSO_WM_UNIT_USESOURCEFORMAT_APPLY" val="0"/>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Lst>
</file>

<file path=ppt/tags/tag6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3_3"/>
  <p:tag name="KSO_WM_TEMPLATE_CATEGORY" val="diagram"/>
  <p:tag name="KSO_WM_TEMPLATE_INDEX" val="20234387"/>
  <p:tag name="KSO_WM_UNIT_LAYERLEVEL" val="1_1_1"/>
  <p:tag name="KSO_WM_TAG_VERSION" val="3.0"/>
  <p:tag name="KSO_WM_UNIT_TYPE" val="q_h_i"/>
  <p:tag name="KSO_WM_UNIT_INDEX" val="1_3_3"/>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30000001192092896,&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3"/>
  <p:tag name="KSO_WM_UNIT_TEXT_FILL_FORE_SCHEMECOLOR_INDEX" val="2"/>
  <p:tag name="KSO_WM_UNIT_TEXT_FILL_TYPE" val="1"/>
  <p:tag name="KSO_WM_UNIT_USESOURCEFORMAT_APPLY" val="0"/>
</p:tagLst>
</file>

<file path=ppt/tags/tag6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2_3"/>
  <p:tag name="KSO_WM_TEMPLATE_CATEGORY" val="diagram"/>
  <p:tag name="KSO_WM_TEMPLATE_INDEX" val="20234387"/>
  <p:tag name="KSO_WM_UNIT_LAYERLEVEL" val="1_1_1"/>
  <p:tag name="KSO_WM_TAG_VERSION" val="3.0"/>
  <p:tag name="KSO_WM_UNIT_TYPE" val="q_h_i"/>
  <p:tag name="KSO_WM_UNIT_INDEX" val="1_2_3"/>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15000000596046448,&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15"/>
  <p:tag name="KSO_WM_UNIT_TEXT_FILL_FORE_SCHEMECOLOR_INDEX" val="2"/>
  <p:tag name="KSO_WM_UNIT_TEXT_FILL_TYPE" val="1"/>
  <p:tag name="KSO_WM_UNIT_USESOURCEFORMAT_APPLY" val="0"/>
</p:tagLst>
</file>

<file path=ppt/tags/tag6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i*1_1"/>
  <p:tag name="KSO_WM_TEMPLATE_CATEGORY" val="diagram"/>
  <p:tag name="KSO_WM_TEMPLATE_INDEX" val="20234387"/>
  <p:tag name="KSO_WM_UNIT_LAYERLEVEL" val="1_1"/>
  <p:tag name="KSO_WM_TAG_VERSION" val="3.0"/>
  <p:tag name="KSO_WM_UNIT_TYPE" val="q_i"/>
  <p:tag name="KSO_WM_UNIT_INDEX" val="1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6,&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2"/>
  <p:tag name="KSO_WM_UNIT_FILL_FORE_SCHEMECOLOR_INDEX_BRIGHTNESS" val="0"/>
  <p:tag name="KSO_WM_UNIT_TEXT_FILL_FORE_SCHEMECOLOR_INDEX" val="1"/>
  <p:tag name="KSO_WM_UNIT_TEXT_FILL_TYPE" val="1"/>
  <p:tag name="KSO_WM_BEAUTIFY_FLAG" val="#wm#"/>
  <p:tag name="KSO_WM_UNIT_USESOURCEFORMAT_APPLY" val="0"/>
</p:tagLst>
</file>

<file path=ppt/tags/tag6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1_2"/>
  <p:tag name="KSO_WM_TEMPLATE_CATEGORY" val="diagram"/>
  <p:tag name="KSO_WM_TEMPLATE_INDEX" val="20234387"/>
  <p:tag name="KSO_WM_UNIT_LAYERLEVEL" val="1_1_1"/>
  <p:tag name="KSO_WM_TAG_VERSION" val="3.0"/>
  <p:tag name="KSO_WM_UNIT_TYPE" val="q_h_i"/>
  <p:tag name="KSO_WM_UNIT_INDEX" val="1_1_2"/>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2"/>
  <p:tag name="KSO_WM_UNIT_TEXT_FILL_TYPE" val="1"/>
  <p:tag name="KSO_WM_UNIT_USESOURCEFORMAT_APPLY" val="0"/>
</p:tagLst>
</file>

<file path=ppt/tags/tag6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2_2"/>
  <p:tag name="KSO_WM_TEMPLATE_CATEGORY" val="diagram"/>
  <p:tag name="KSO_WM_TEMPLATE_INDEX" val="20234387"/>
  <p:tag name="KSO_WM_UNIT_LAYERLEVEL" val="1_1_1"/>
  <p:tag name="KSO_WM_TAG_VERSION" val="3.0"/>
  <p:tag name="KSO_WM_UNIT_TYPE" val="q_h_i"/>
  <p:tag name="KSO_WM_UNIT_INDEX" val="1_2_2"/>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2"/>
  <p:tag name="KSO_WM_UNIT_TEXT_FILL_TYPE" val="1"/>
  <p:tag name="KSO_WM_UNIT_USESOURCEFORMAT_APPLY" val="0"/>
</p:tagLst>
</file>

<file path=ppt/tags/tag6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3_2"/>
  <p:tag name="KSO_WM_TEMPLATE_CATEGORY" val="diagram"/>
  <p:tag name="KSO_WM_TEMPLATE_INDEX" val="20234387"/>
  <p:tag name="KSO_WM_UNIT_LAYERLEVEL" val="1_1_1"/>
  <p:tag name="KSO_WM_TAG_VERSION" val="3.0"/>
  <p:tag name="KSO_WM_UNIT_TYPE" val="q_h_i"/>
  <p:tag name="KSO_WM_UNIT_INDEX" val="1_3_2"/>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2"/>
  <p:tag name="KSO_WM_UNIT_TEXT_FILL_TYPE" val="1"/>
  <p:tag name="KSO_WM_UNIT_USESOURCEFORMAT_APPLY" val="0"/>
</p:tagLst>
</file>

<file path=ppt/tags/tag6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i*1_4_2"/>
  <p:tag name="KSO_WM_TEMPLATE_CATEGORY" val="diagram"/>
  <p:tag name="KSO_WM_TEMPLATE_INDEX" val="20234387"/>
  <p:tag name="KSO_WM_UNIT_LAYERLEVEL" val="1_1_1"/>
  <p:tag name="KSO_WM_TAG_VERSION" val="3.0"/>
  <p:tag name="KSO_WM_UNIT_TYPE" val="q_h_i"/>
  <p:tag name="KSO_WM_UNIT_INDEX" val="1_4_2"/>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type&quot;:0},&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TEXT_FILL_FORE_SCHEMECOLOR_INDEX" val="2"/>
  <p:tag name="KSO_WM_UNIT_TEXT_FILL_TYPE" val="1"/>
  <p:tag name="KSO_WM_UNIT_USESOURCEFORMAT_APPLY" val="0"/>
</p:tagLst>
</file>

<file path=ppt/tags/tag6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x*1_2_1"/>
  <p:tag name="KSO_WM_TEMPLATE_CATEGORY" val="diagram"/>
  <p:tag name="KSO_WM_TEMPLATE_INDEX" val="20234387"/>
  <p:tag name="KSO_WM_UNIT_LAYERLEVEL" val="1_1_1"/>
  <p:tag name="KSO_WM_TAG_VERSION" val="3.0"/>
  <p:tag name="KSO_WM_UNIT_VALUE" val="130*130"/>
  <p:tag name="KSO_WM_UNIT_TYPE" val="q_h_x"/>
  <p:tag name="KSO_WM_UNIT_INDEX" val="1_2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FILL_TYPE" val="1"/>
  <p:tag name="KSO_WM_UNIT_FILL_FORE_SCHEMECOLOR_INDEX" val="14"/>
  <p:tag name="KSO_WM_UNIT_FILL_FORE_SCHEMECOLOR_INDEX_BRIGHTNESS" val="0"/>
  <p:tag name="KSO_WM_UNIT_USESOURCEFORMAT_APPLY" val="0"/>
</p:tagLst>
</file>

<file path=ppt/tags/tag6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x*1_1"/>
  <p:tag name="KSO_WM_TEMPLATE_CATEGORY" val="diagram"/>
  <p:tag name="KSO_WM_TEMPLATE_INDEX" val="20234387"/>
  <p:tag name="KSO_WM_UNIT_LAYERLEVEL" val="1_1"/>
  <p:tag name="KSO_WM_TAG_VERSION" val="3.0"/>
  <p:tag name="KSO_WM_UNIT_VALUE" val="130*139"/>
  <p:tag name="KSO_WM_UNIT_TYPE" val="q_x"/>
  <p:tag name="KSO_WM_UNIT_INDEX" val="1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gradient&quot;:[{&quot;brightness&quot;:0.800000011920929,&quot;colorType&quot;:1,&quot;foreColorIndex&quot;:5,&quot;pos&quot;:0,&quot;transparency&quot;:0},{&quot;brightness&quot;:0.800000011920929,&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FILL_FORE_SCHEMECOLOR_INDEX" val="5"/>
  <p:tag name="KSO_WM_UNIT_FILL_TYPE" val="1"/>
  <p:tag name="KSO_WM_UNIT_USESOURCEFORMAT_APPLY" val="0"/>
</p:tagLst>
</file>

<file path=ppt/tags/tag6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x*1_1_1"/>
  <p:tag name="KSO_WM_TEMPLATE_CATEGORY" val="diagram"/>
  <p:tag name="KSO_WM_TEMPLATE_INDEX" val="20234387"/>
  <p:tag name="KSO_WM_UNIT_LAYERLEVEL" val="1_1_1"/>
  <p:tag name="KSO_WM_TAG_VERSION" val="3.0"/>
  <p:tag name="KSO_WM_UNIT_VALUE" val="130*130"/>
  <p:tag name="KSO_WM_UNIT_TYPE" val="q_h_x"/>
  <p:tag name="KSO_WM_UNIT_INDEX" val="1_1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FILL_TYPE" val="1"/>
  <p:tag name="KSO_WM_UNIT_FILL_FORE_SCHEMECOLOR_INDEX" val="14"/>
  <p:tag name="KSO_WM_UNIT_FILL_FORE_SCHEMECOLOR_INDEX_BRIGHTNESS" val="0"/>
  <p:tag name="KSO_WM_UNIT_USESOURCEFORMAT_APPLY" val="0"/>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Lst>
</file>

<file path=ppt/tags/tag640.xml><?xml version="1.0" encoding="utf-8"?>
<p:tagLst xmlns:p="http://schemas.openxmlformats.org/presentationml/2006/main">
  <p:tag name="KSO_WM_UNIT_COMPATIBLE" val="0"/>
  <p:tag name="KSO_WM_UNIT_DIAGRAM_ISREFERUNIT" val="0"/>
  <p:tag name="KSO_WM_TEMPLATE_CATEGORY" val="diagram"/>
  <p:tag name="KSO_WM_UNIT_LAYERLEVEL" val="1_1_1"/>
  <p:tag name="KSO_WM_UNIT_TYPE" val="q_h_x"/>
  <p:tag name="KSO_WM_DIAGRAM_GROUP_CODE" val="q1-1"/>
  <p:tag name="KSO_WM_DIAGRAM_COLOR_TRICK" val="1"/>
  <p:tag name="KSO_WM_DIAGRAM_MAX_ITEMCNT" val="4"/>
  <p:tag name="KSO_WM_DIAGRAM_VIRTUALLY_FRAME" val="{&quot;height&quot;:400.3585826771654,&quot;left&quot;:41.491729736328125,&quot;top&quot;:115.14141732283466,&quot;width&quot;:904.6082702636719}"/>
  <p:tag name="KSO_WM_DIAGRAM_MIN_ITEMCNT" val="2"/>
  <p:tag name="KSO_WM_DIAGRAM_COLOR_TEXT_CAN_REMOVE" val="n"/>
  <p:tag name="KSO_WM_DIAGRAM_VERSION" val="3"/>
  <p:tag name="KSO_WM_UNIT_INDEX" val="1_3_1"/>
  <p:tag name="KSO_WM_UNIT_VALUE" val="130*130"/>
  <p:tag name="KSO_WM_TAG_VERSION" val="3.0"/>
  <p:tag name="KSO_WM_TEMPLATE_INDEX" val="20234387"/>
  <p:tag name="KSO_WM_UNIT_ID" val="diagram20234387_3*q_h_x*1_3_1"/>
  <p:tag name="KSO_WM_UNIT_DIAGRAM_ISNUMVISUAL" val="0"/>
  <p:tag name="KSO_WM_UNIT_HIGHLIGHT" val="0"/>
  <p:tag name="KSO_WM_DIAGRAM_COLOR_MATCH_VALUE" val="{&quot;shape&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FILL_TYPE" val="1"/>
  <p:tag name="KSO_WM_UNIT_FILL_FORE_SCHEMECOLOR_INDEX" val="14"/>
  <p:tag name="KSO_WM_UNIT_FILL_FORE_SCHEMECOLOR_INDEX_BRIGHTNESS" val="0"/>
  <p:tag name="KSO_WM_UNIT_USESOURCEFORMAT_APPLY" val="0"/>
</p:tagLst>
</file>

<file path=ppt/tags/tag6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4387_3*q_h_x*1_4_1"/>
  <p:tag name="KSO_WM_TEMPLATE_CATEGORY" val="diagram"/>
  <p:tag name="KSO_WM_TEMPLATE_INDEX" val="20234387"/>
  <p:tag name="KSO_WM_UNIT_LAYERLEVEL" val="1_1_1"/>
  <p:tag name="KSO_WM_TAG_VERSION" val="3.0"/>
  <p:tag name="KSO_WM_UNIT_VALUE" val="130*130"/>
  <p:tag name="KSO_WM_UNIT_TYPE" val="q_h_x"/>
  <p:tag name="KSO_WM_UNIT_INDEX" val="1_4_1"/>
  <p:tag name="KSO_WM_DIAGRAM_GROUP_CODE" val="q1-1"/>
  <p:tag name="KSO_WM_DIAGRAM_VERSION" val="3"/>
  <p:tag name="KSO_WM_DIAGRAM_COLOR_TRICK" val="1"/>
  <p:tag name="KSO_WM_DIAGRAM_COLOR_TEXT_CAN_REMOVE" val="n"/>
  <p:tag name="KSO_WM_DIAGRAM_MAX_ITEMCNT" val="4"/>
  <p:tag name="KSO_WM_DIAGRAM_MIN_ITEMCNT" val="2"/>
  <p:tag name="KSO_WM_DIAGRAM_VIRTUALLY_FRAME" val="{&quot;height&quot;:400.3585826771654,&quot;left&quot;:41.491729736328125,&quot;top&quot;:115.14141732283466,&quot;width&quot;:904.6082702636719}"/>
  <p:tag name="KSO_WM_DIAGRAM_COLOR_MATCH_VALUE" val="{&quot;shape&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FILL_TYPE" val="1"/>
  <p:tag name="KSO_WM_UNIT_FILL_FORE_SCHEMECOLOR_INDEX" val="14"/>
  <p:tag name="KSO_WM_UNIT_FILL_FORE_SCHEMECOLOR_INDEX_BRIGHTNESS" val="0"/>
  <p:tag name="KSO_WM_UNIT_USESOURCEFORMAT_APPLY" val="0"/>
</p:tagLst>
</file>

<file path=ppt/tags/tag642.xml><?xml version="1.0" encoding="utf-8"?>
<p:tagLst xmlns:p="http://schemas.openxmlformats.org/presentationml/2006/main">
  <p:tag name="KSO_WM_UNIT_INDEX" val="1"/>
  <p:tag name="KSO_WM_UNIT_TYPE" val="a"/>
  <p:tag name="KSO_WM_BEAUTIFY_FLAG" val="#wm#"/>
</p:tagLst>
</file>

<file path=ppt/tags/tag643.xml><?xml version="1.0" encoding="utf-8"?>
<p:tagLst xmlns:p="http://schemas.openxmlformats.org/presentationml/2006/main">
  <p:tag name="KSO_WM_SLIDE_TYPE" val="text"/>
  <p:tag name="KSO_WM_BEAUTIFY_FLAG" val="#wm#"/>
  <p:tag name="KSO_WM_SLIDE_ID" val="custom20230258_8"/>
  <p:tag name="KSO_WM_TEMPLATE_SUBCATEGORY" val="29"/>
  <p:tag name="KSO_WM_TEMPLATE_MASTER_TYPE" val="0"/>
  <p:tag name="KSO_WM_TEMPLATE_COLOR_TYPE" val="0"/>
  <p:tag name="KSO_WM_SLIDE_ITEM_CNT" val="0"/>
  <p:tag name="KSO_WM_SLIDE_INDEX" val="8"/>
  <p:tag name="KSO_WM_TAG_VERSION" val="3.0"/>
  <p:tag name="KSO_WM_TEMPLATE_CATEGORY" val="custom"/>
  <p:tag name="KSO_WM_TEMPLATE_INDEX" val="20230258"/>
  <p:tag name="KSO_WM_SLIDE_LAYOUT" val="a_f"/>
  <p:tag name="KSO_WM_SLIDE_LAYOUT_CNT" val="1_1"/>
  <p:tag name="KSO_WM_SLIDE_SUBTYPE" val="pureTxt"/>
  <p:tag name="KSO_WM_SLIDE_SIZE" val="864*444"/>
  <p:tag name="KSO_WM_SLIDE_POSITION" val="47*47"/>
  <p:tag name="KSO_WM_SLIDE_LAYOUT_NAME" val="标题和内容"/>
</p:tagLst>
</file>

<file path=ppt/tags/tag644.xml><?xml version="1.0" encoding="utf-8"?>
<p:tagLst xmlns:p="http://schemas.openxmlformats.org/presentationml/2006/main">
  <p:tag name="KSO_WM_UNIT_INDEX" val="1"/>
  <p:tag name="KSO_WM_UNIT_TYPE" val="a"/>
  <p:tag name="KSO_WM_BEAUTIFY_FLAG" val="#wm#"/>
</p:tagLst>
</file>

<file path=ppt/tags/tag645.xml><?xml version="1.0" encoding="utf-8"?>
<p:tagLst xmlns:p="http://schemas.openxmlformats.org/presentationml/2006/main">
  <p:tag name="KSO_WM_SLIDE_TYPE" val="text"/>
  <p:tag name="KSO_WM_BEAUTIFY_FLAG" val="#wm#"/>
  <p:tag name="KSO_WM_SLIDE_ID" val="custom20230258_8"/>
  <p:tag name="KSO_WM_TEMPLATE_SUBCATEGORY" val="29"/>
  <p:tag name="KSO_WM_TEMPLATE_MASTER_TYPE" val="0"/>
  <p:tag name="KSO_WM_TEMPLATE_COLOR_TYPE" val="0"/>
  <p:tag name="KSO_WM_SLIDE_ITEM_CNT" val="0"/>
  <p:tag name="KSO_WM_SLIDE_INDEX" val="8"/>
  <p:tag name="KSO_WM_TAG_VERSION" val="3.0"/>
  <p:tag name="KSO_WM_TEMPLATE_CATEGORY" val="custom"/>
  <p:tag name="KSO_WM_TEMPLATE_INDEX" val="20230258"/>
  <p:tag name="KSO_WM_SLIDE_LAYOUT" val="a_f"/>
  <p:tag name="KSO_WM_SLIDE_LAYOUT_CNT" val="1_1"/>
  <p:tag name="KSO_WM_SLIDE_SUBTYPE" val="pureTxt"/>
  <p:tag name="KSO_WM_SLIDE_SIZE" val="864*444"/>
  <p:tag name="KSO_WM_SLIDE_POSITION" val="47*47"/>
  <p:tag name="KSO_WM_SLIDE_LAYOUT_NAME" val="标题和内容"/>
</p:tagLst>
</file>

<file path=ppt/tags/tag646.xml><?xml version="1.0" encoding="utf-8"?>
<p:tagLst xmlns:p="http://schemas.openxmlformats.org/presentationml/2006/main">
  <p:tag name="KSO_WM_UNIT_INDEX" val="1"/>
  <p:tag name="KSO_WM_UNIT_TYPE" val="a"/>
  <p:tag name="KSO_WM_BEAUTIFY_FLAG" val="#wm#"/>
</p:tagLst>
</file>

<file path=ppt/tags/tag647.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i"/>
  <p:tag name="KSO_WM_UNIT_INDEX" val="1_1"/>
  <p:tag name="KSO_WM_UNIT_ID" val="diagram20230941_3*m_i*1_1"/>
  <p:tag name="KSO_WM_TEMPLATE_CATEGORY" val="diagram"/>
  <p:tag name="KSO_WM_TEMPLATE_INDEX" val="20230941"/>
  <p:tag name="KSO_WM_UNIT_LAYERLEVEL" val="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solid&quot;:{&quot;brightness&quot;:0,&quot;colorType&quot;:1,&quot;foreColorIndex&quot;:5,&quot;transparency&quot;:0},&quot;type&quot;:1},&quot;glow&quot;:{&quot;colorType&quot;:0},&quot;line&quot;:{&quot;gradient&quot;:[{&quot;brightness&quot;:0,&quot;colorType&quot;:1,&quot;foreColorIndex&quot;:5,&quot;pos&quot;:0.20000000298023224,&quot;transparency&quot;:1},{&quot;brightness&quot;:0,&quot;colorType&quot;:1,&quot;foreColorIndex&quot;:5,&quot;pos&quot;:0.8999999761581421,&quot;transparency&quot;:0}],&quot;type&quot;:2},&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LINE_FORE_SCHEMECOLOR_INDEX" val="5"/>
  <p:tag name="KSO_WM_UNIT_TEXT_FILL_FORE_SCHEMECOLOR_INDEX" val="2"/>
  <p:tag name="KSO_WM_UNIT_TEXT_FILL_TYPE" val="1"/>
  <p:tag name="KSO_WM_UNIT_USESOURCEFORMAT_APPLY" val="1"/>
</p:tagLst>
</file>

<file path=ppt/tags/tag648.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i"/>
  <p:tag name="KSO_WM_UNIT_INDEX" val="1_2"/>
  <p:tag name="KSO_WM_UNIT_ID" val="diagram20230941_3*m_i*1_2"/>
  <p:tag name="KSO_WM_TEMPLATE_CATEGORY" val="diagram"/>
  <p:tag name="KSO_WM_TEMPLATE_INDEX" val="20230941"/>
  <p:tag name="KSO_WM_UNIT_LAYERLEVEL" val="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USESOURCEFORMAT_APPLY" val="1"/>
</p:tagLst>
</file>

<file path=ppt/tags/tag649.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h_i"/>
  <p:tag name="KSO_WM_UNIT_INDEX" val="1_1_3"/>
  <p:tag name="KSO_WM_UNIT_ID" val="diagram20230941_3*m_h_i*1_1_3"/>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gradient&quot;:[{&quot;brightness&quot;:0,&quot;colorType&quot;:1,&quot;foreColorIndex&quot;:5,&quot;pos&quot;:0.17000000178813934,&quot;transparency&quot;:1},{&quot;brightness&quot;:0,&quot;colorType&quot;:1,&quot;foreColorIndex&quot;:5,&quot;pos&quot;:0.6100000143051147,&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LINE_FORE_SCHEMECOLOR_INDEX" val="5"/>
  <p:tag name="KSO_WM_UNIT_USESOURCEFORMAT_APPLY" val="1"/>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3.0"/>
  <p:tag name="KSO_WM_BEAUTIFY_FLAG" val="#wm#"/>
</p:tagLst>
</file>

<file path=ppt/tags/tag650.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SUBTYPE" val="d"/>
  <p:tag name="KSO_WM_UNIT_TYPE" val="m_h_i"/>
  <p:tag name="KSO_WM_UNIT_INDEX" val="1_1_1"/>
  <p:tag name="KSO_WM_UNIT_ID" val="diagram20230941_3*m_h_i*1_1_1"/>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brightness&quot;:-0.25,&quot;colorType&quot;:1,&quot;foreColorIndex&quot;:5,&quot;transparency&quot;:0.6000000238418579},&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SHADOW_SCHEMECOLOR_INDEX" val="5"/>
  <p:tag name="KSO_WM_UNIT_USESOURCEFORMAT_APPLY" val="1"/>
</p:tagLst>
</file>

<file path=ppt/tags/tag651.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m_h_f"/>
  <p:tag name="KSO_WM_UNIT_INDEX" val="1_1_1"/>
  <p:tag name="KSO_WM_UNIT_ID" val="diagram20230941_3*m_h_f*1_1_1"/>
  <p:tag name="KSO_WM_TEMPLATE_CATEGORY" val="diagram"/>
  <p:tag name="KSO_WM_TEMPLATE_INDEX" val="20230941"/>
  <p:tag name="KSO_WM_UNIT_LAYERLEVEL" val="1_1_1"/>
  <p:tag name="KSO_WM_TAG_VERSION" val="3.0"/>
  <p:tag name="KSO_WM_DIAGRAM_VERSION" val="3"/>
  <p:tag name="KSO_WM_DIAGRAM_COLOR_TRICK" val="1"/>
  <p:tag name="KSO_WM_DIAGRAM_COLOR_TEXT_CAN_REMOVE" val="n"/>
  <p:tag name="KSO_WM_DIAGRAM_GROUP_CODE" val="m1-1"/>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单击此处输入你的项正文，文字是您思想的提炼，请尽量言简意赅"/>
  <p:tag name="KSO_WM_UNIT_TEXT_FILL_FORE_SCHEMECOLOR_INDEX" val="1"/>
  <p:tag name="KSO_WM_UNIT_TEXT_FILL_TYPE" val="1"/>
  <p:tag name="KSO_WM_UNIT_USESOURCEFORMAT_APPLY" val="1"/>
</p:tagLst>
</file>

<file path=ppt/tags/tag652.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m_h_a"/>
  <p:tag name="KSO_WM_UNIT_INDEX" val="1_1_1"/>
  <p:tag name="KSO_WM_UNIT_ID" val="diagram20230941_3*m_h_a*1_1_1"/>
  <p:tag name="KSO_WM_TEMPLATE_CATEGORY" val="diagram"/>
  <p:tag name="KSO_WM_TEMPLATE_INDEX" val="20230941"/>
  <p:tag name="KSO_WM_UNIT_LAYERLEVEL" val="1_1_1"/>
  <p:tag name="KSO_WM_TAG_VERSION" val="3.0"/>
  <p:tag name="KSO_WM_DIAGRAM_VERSION" val="3"/>
  <p:tag name="KSO_WM_DIAGRAM_COLOR_TRICK" val="1"/>
  <p:tag name="KSO_WM_DIAGRAM_COLOR_TEXT_CAN_REMOVE" val="n"/>
  <p:tag name="KSO_WM_DIAGRAM_GROUP_CODE" val="m1-1"/>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BEAUTIFY_FLAG" val="#wm#"/>
  <p:tag name="KSO_WM_UNIT_PRESET_TEXT" val="添加项标题"/>
  <p:tag name="KSO_WM_UNIT_TEXT_FILL_FORE_SCHEMECOLOR_INDEX" val="1"/>
  <p:tag name="KSO_WM_UNIT_TEXT_FILL_TYPE" val="1"/>
  <p:tag name="KSO_WM_UNIT_USESOURCEFORMAT_APPLY" val="1"/>
</p:tagLst>
</file>

<file path=ppt/tags/tag653.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h_i"/>
  <p:tag name="KSO_WM_UNIT_INDEX" val="1_1_2"/>
  <p:tag name="KSO_WM_UNIT_ID" val="diagram20230941_3*m_h_i*1_1_2"/>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solid&quot;:{&quot;brightness&quot;:0.6000000238418579,&quot;colorType&quot;:1,&quot;foreColorIndex&quot;:5,&quot;transparency&quot;:0},&quot;type&quot;:1},&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6"/>
  <p:tag name="KSO_WM_UNIT_TEXT_FILL_FORE_SCHEMECOLOR_INDEX" val="2"/>
  <p:tag name="KSO_WM_UNIT_TEXT_FILL_TYPE" val="1"/>
  <p:tag name="KSO_WM_UNIT_USESOURCEFORMAT_APPLY" val="1"/>
</p:tagLst>
</file>

<file path=ppt/tags/tag654.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h_i"/>
  <p:tag name="KSO_WM_UNIT_INDEX" val="1_3_3"/>
  <p:tag name="KSO_WM_UNIT_ID" val="diagram20230941_3*m_h_i*1_3_3"/>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gradient&quot;:[{&quot;brightness&quot;:0,&quot;colorType&quot;:1,&quot;foreColorIndex&quot;:5,&quot;pos&quot;:0.17000000178813934,&quot;transparency&quot;:1},{&quot;brightness&quot;:0,&quot;colorType&quot;:1,&quot;foreColorIndex&quot;:5,&quot;pos&quot;:0.6100000143051147,&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BEAUTIFY_FLAG" val="#wm#"/>
  <p:tag name="KSO_WM_UNIT_LINE_FORE_SCHEMECOLOR_INDEX" val="7"/>
  <p:tag name="KSO_WM_UNIT_USESOURCEFORMAT_APPLY" val="1"/>
</p:tagLst>
</file>

<file path=ppt/tags/tag655.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m_h_f"/>
  <p:tag name="KSO_WM_UNIT_INDEX" val="1_3_1"/>
  <p:tag name="KSO_WM_UNIT_ID" val="diagram20230941_3*m_h_f*1_3_1"/>
  <p:tag name="KSO_WM_TEMPLATE_CATEGORY" val="diagram"/>
  <p:tag name="KSO_WM_TEMPLATE_INDEX" val="20230941"/>
  <p:tag name="KSO_WM_UNIT_LAYERLEVEL" val="1_1_1"/>
  <p:tag name="KSO_WM_TAG_VERSION" val="3.0"/>
  <p:tag name="KSO_WM_DIAGRAM_VERSION" val="3"/>
  <p:tag name="KSO_WM_DIAGRAM_COLOR_TRICK" val="1"/>
  <p:tag name="KSO_WM_DIAGRAM_COLOR_TEXT_CAN_REMOVE" val="n"/>
  <p:tag name="KSO_WM_DIAGRAM_GROUP_CODE" val="m1-1"/>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TEXT_LAYER_COUNT" val="1"/>
  <p:tag name="KSO_WM_BEAUTIFY_FLAG" val="#wm#"/>
  <p:tag name="KSO_WM_UNIT_PRESET_TEXT" val="可酌情增减文字，以便观者准确地理解您传达的思想"/>
  <p:tag name="KSO_WM_UNIT_TEXT_FILL_FORE_SCHEMECOLOR_INDEX" val="1"/>
  <p:tag name="KSO_WM_UNIT_TEXT_FILL_TYPE" val="1"/>
  <p:tag name="KSO_WM_UNIT_USESOURCEFORMAT_APPLY" val="1"/>
</p:tagLst>
</file>

<file path=ppt/tags/tag656.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SUBTYPE" val="d"/>
  <p:tag name="KSO_WM_UNIT_TYPE" val="m_h_i"/>
  <p:tag name="KSO_WM_UNIT_INDEX" val="1_3_1"/>
  <p:tag name="KSO_WM_UNIT_ID" val="diagram20230941_3*m_h_i*1_3_1"/>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brightness&quot;:-0.25,&quot;colorType&quot;:1,&quot;foreColorIndex&quot;:5,&quot;transparency&quot;:0.6000000238418579},&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
  <p:tag name="KSO_WM_UNIT_TEXT_SHADOW_SCHEMECOLOR_INDEX" val="7"/>
  <p:tag name="KSO_WM_UNIT_USESOURCEFORMAT_APPLY" val="1"/>
</p:tagLst>
</file>

<file path=ppt/tags/tag657.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m_h_a"/>
  <p:tag name="KSO_WM_UNIT_INDEX" val="1_3_1"/>
  <p:tag name="KSO_WM_UNIT_ID" val="diagram20230941_3*m_h_a*1_3_1"/>
  <p:tag name="KSO_WM_TEMPLATE_CATEGORY" val="diagram"/>
  <p:tag name="KSO_WM_TEMPLATE_INDEX" val="20230941"/>
  <p:tag name="KSO_WM_UNIT_LAYERLEVEL" val="1_1_1"/>
  <p:tag name="KSO_WM_TAG_VERSION" val="3.0"/>
  <p:tag name="KSO_WM_DIAGRAM_VERSION" val="3"/>
  <p:tag name="KSO_WM_DIAGRAM_COLOR_TRICK" val="1"/>
  <p:tag name="KSO_WM_DIAGRAM_COLOR_TEXT_CAN_REMOVE" val="n"/>
  <p:tag name="KSO_WM_DIAGRAM_GROUP_CODE" val="m1-1"/>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BEAUTIFY_FLAG" val="#wm#"/>
  <p:tag name="KSO_WM_UNIT_PRESET_TEXT" val="添加项标题"/>
  <p:tag name="KSO_WM_UNIT_TEXT_FILL_FORE_SCHEMECOLOR_INDEX" val="1"/>
  <p:tag name="KSO_WM_UNIT_TEXT_FILL_TYPE" val="1"/>
  <p:tag name="KSO_WM_UNIT_USESOURCEFORMAT_APPLY" val="1"/>
</p:tagLst>
</file>

<file path=ppt/tags/tag658.xml><?xml version="1.0" encoding="utf-8"?>
<p:tagLst xmlns:p="http://schemas.openxmlformats.org/presentationml/2006/main">
  <p:tag name="KSO_WM_DIAGRAM_VERSION" val="3"/>
  <p:tag name="KSO_WM_DIAGRAM_COLOR_TRICK" val="1"/>
  <p:tag name="KSO_WM_DIAGRAM_COLOR_TEXT_CAN_REMOVE" val="n"/>
  <p:tag name="KSO_WM_UNIT_HIGHLIGHT" val="0"/>
  <p:tag name="KSO_WM_UNIT_COMPATIBLE" val="0"/>
  <p:tag name="KSO_WM_UNIT_DIAGRAM_ISNUMVISUAL" val="0"/>
  <p:tag name="KSO_WM_UNIT_DIAGRAM_ISREFERUNIT" val="0"/>
  <p:tag name="KSO_WM_DIAGRAM_GROUP_CODE" val="m1-1"/>
  <p:tag name="KSO_WM_UNIT_TYPE" val="m_h_i"/>
  <p:tag name="KSO_WM_UNIT_INDEX" val="1_3_2"/>
  <p:tag name="KSO_WM_UNIT_ID" val="diagram20230941_3*m_h_i*1_3_2"/>
  <p:tag name="KSO_WM_TEMPLATE_CATEGORY" val="diagram"/>
  <p:tag name="KSO_WM_TEMPLATE_INDEX" val="20230941"/>
  <p:tag name="KSO_WM_UNIT_LAYERLEVEL" val="1_1_1"/>
  <p:tag name="KSO_WM_TAG_VERSION" val="3.0"/>
  <p:tag name="KSO_WM_DIAGRAM_MAX_ITEMCNT" val="6"/>
  <p:tag name="KSO_WM_DIAGRAM_MIN_ITEMCNT" val="2"/>
  <p:tag name="KSO_WM_DIAGRAM_VIRTUALLY_FRAME" val="{&quot;height&quot;:356.0476377952756,&quot;left&quot;:51.53291338582676,&quot;top&quot;:127.57622047244095,&quot;width&quot;:865.5170866141732}"/>
  <p:tag name="KSO_WM_DIAGRAM_COLOR_MATCH_VALUE" val="{&quot;shape&quot;:{&quot;fill&quot;:{&quot;solid&quot;:{&quot;brightness&quot;:0.4000000059604645,&quot;colorType&quot;:1,&quot;foreColorIndex&quot;:5,&quot;transparency&quot;:0},&quot;type&quot;:1},&quot;glow&quot;:{&quot;colorType&quot;:0},&quot;line&quot;:{&quot;solidLine&quot;:{&quot;brightness&quot;:0,&quot;colorType&quot;:2,&quot;rgb&quot;:&quot;#ffffff&quot;,&quot;transparency&quot;:0},&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BEAUTIFY_FLAG" val="#wm#"/>
  <p:tag name="KSO_WM_UNIT_FILL_TYPE" val="1"/>
  <p:tag name="KSO_WM_UNIT_FILL_FORE_SCHEMECOLOR_INDEX" val="5"/>
  <p:tag name="KSO_WM_UNIT_FILL_FORE_SCHEMECOLOR_INDEX_BRIGHTNESS" val="0.4"/>
  <p:tag name="KSO_WM_UNIT_TEXT_FILL_FORE_SCHEMECOLOR_INDEX" val="2"/>
  <p:tag name="KSO_WM_UNIT_TEXT_FILL_TYPE" val="1"/>
  <p:tag name="KSO_WM_UNIT_USESOURCEFORMAT_APPLY" val="1"/>
</p:tagLst>
</file>

<file path=ppt/tags/tag659.xml><?xml version="1.0" encoding="utf-8"?>
<p:tagLst xmlns:p="http://schemas.openxmlformats.org/presentationml/2006/main">
  <p:tag name="KSO_WM_SLIDE_TYPE" val="text"/>
  <p:tag name="KSO_WM_BEAUTIFY_FLAG" val="#wm#"/>
  <p:tag name="KSO_WM_SLIDE_ID" val="custom20230258_8"/>
  <p:tag name="KSO_WM_TEMPLATE_SUBCATEGORY" val="29"/>
  <p:tag name="KSO_WM_TEMPLATE_MASTER_TYPE" val="0"/>
  <p:tag name="KSO_WM_TEMPLATE_COLOR_TYPE" val="0"/>
  <p:tag name="KSO_WM_SLIDE_ITEM_CNT" val="0"/>
  <p:tag name="KSO_WM_SLIDE_INDEX" val="8"/>
  <p:tag name="KSO_WM_TAG_VERSION" val="3.0"/>
  <p:tag name="KSO_WM_TEMPLATE_CATEGORY" val="custom"/>
  <p:tag name="KSO_WM_TEMPLATE_INDEX" val="20230258"/>
  <p:tag name="KSO_WM_SLIDE_LAYOUT" val="a_f"/>
  <p:tag name="KSO_WM_SLIDE_LAYOUT_CNT" val="1_1"/>
  <p:tag name="KSO_WM_SLIDE_SUBTYPE" val="pureTxt"/>
  <p:tag name="KSO_WM_SLIDE_SIZE" val="864*444"/>
  <p:tag name="KSO_WM_SLIDE_POSITION" val="47*47"/>
  <p:tag name="KSO_WM_SLIDE_LAYOUT_NAME" val="标题和内容"/>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f*4"/>
  <p:tag name="KSO_WM_UNIT_LAYERLEVEL" val="1"/>
  <p:tag name="KSO_WM_TAG_VERSION" val="3.0"/>
  <p:tag name="KSO_WM_BEAUTIFY_FLAG" val="#wm#"/>
  <p:tag name="KSO_WM_UNIT_SUBTYPE" val="b"/>
  <p:tag name="KSO_WM_UNIT_PRESET_TEXT" val="署名占位符"/>
  <p:tag name="KSO_WM_UNIT_NOCLEAR" val="0"/>
  <p:tag name="KSO_WM_UNIT_VALUE" val="8"/>
  <p:tag name="KSO_WM_UNIT_TYPE" val="f"/>
  <p:tag name="KSO_WM_UNIT_INDEX" val="4"/>
  <p:tag name="KSO_WM_UNIT_TEXT_LAYER_COUNT" val="1"/>
</p:tagLst>
</file>

<file path=ppt/tags/tag660.xml><?xml version="1.0" encoding="utf-8"?>
<p:tagLst xmlns:p="http://schemas.openxmlformats.org/presentationml/2006/main">
  <p:tag name="KSO_WM_UNIT_INDEX" val="1"/>
  <p:tag name="KSO_WM_UNIT_TYPE" val="a"/>
  <p:tag name="KSO_WM_BEAUTIFY_FLAG" val="#wm#"/>
</p:tagLst>
</file>

<file path=ppt/tags/tag66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i"/>
  <p:tag name="KSO_WM_UNIT_INDEX" val="1_1"/>
  <p:tag name="KSO_WM_UNIT_ID" val="diagram20236926_1*m_i*1_1"/>
  <p:tag name="KSO_WM_TEMPLATE_CATEGORY" val="diagram"/>
  <p:tag name="KSO_WM_TEMPLATE_INDEX" val="20236926"/>
  <p:tag name="KSO_WM_UNIT_LAYERLEVEL" val="1_1"/>
  <p:tag name="KSO_WM_TAG_VERSION" val="3.0"/>
  <p:tag name="KSO_WM_BEAUTIFY_FLAG" val="#wm#"/>
  <p:tag name="KSO_WM_DIAGRAM_VERSION" val="3"/>
  <p:tag name="KSO_WM_DIAGRAM_COLOR_TRICK" val="1"/>
  <p:tag name="KSO_WM_DIAGRAM_COLOR_TEXT_CAN_REMOVE" val="n"/>
  <p:tag name="KSO_WM_UNIT_LINE_FORE_SCHEMECOLOR_INDEX" val="13"/>
  <p:tag name="KSO_WM_DIAGRAM_MAX_ITEMCNT" val="5"/>
  <p:tag name="KSO_WM_DIAGRAM_MIN_ITEMCNT" val="3"/>
  <p:tag name="KSO_WM_DIAGRAM_VIRTUALLY_FRAME" val="{&quot;height&quot;:354.5018920898438,&quot;left&quot;:0,&quot;top&quot;:107.53629804956631,&quot;width&quot;:960}"/>
  <p:tag name="KSO_WM_DIAGRAM_COLOR_MATCH_VALUE" val="{&quot;shape&quot;:{&quot;fill&quot;:{&quot;type&quot;:0},&quot;glow&quot;:{&quot;colorType&quot;:0},&quot;line&quot;:{&quot;solidLine&quot;:{&quot;brightness&quot;:0.5,&quot;colorType&quot;:1,&quot;foreColorIndex&quot;:13,&quot;transparency&quot;:0.6000000238418579},&quot;type&quot;:1},&quot;shadow&quot;:{&quot;colorType&quot;:0},&quot;threeD&quot;:{&quot;curvedSurface&quot;:{&quot;brightness&quot;:0,&quot;colorType&quot;:2,&quot;rgb&quot;:&quot;#000000&quot;},&quot;depth&quot;:{&quot;colorType&quot;:0}}},&quot;text&quot;:{&quot;fill&quot;:{},&quot;glow&quot;:{},&quot;line&quot;:{},&quot;shadow&quot;:{},&quot;threeD&quot;:{}}}"/>
  <p:tag name="KSO_WM_UNIT_LINE_FILL_TYPE" val="2"/>
  <p:tag name="KSO_WM_UNIT_USESOURCEFORMAT_APPLY" val="1"/>
</p:tagLst>
</file>

<file path=ppt/tags/tag662.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1_1"/>
  <p:tag name="KSO_WM_UNIT_ID" val="diagram20236926_1*m_h_i*1_1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LINE_FORE_SCHEMECOLOR_INDEX" val="13"/>
  <p:tag name="KSO_WM_DIAGRAM_MAX_ITEMCNT" val="5"/>
  <p:tag name="KSO_WM_DIAGRAM_MIN_ITEMCNT" val="3"/>
  <p:tag name="KSO_WM_DIAGRAM_COLOR_MATCH_VALUE" val="{&quot;shape&quot;:{&quot;fill&quot;:{&quot;type&quot;:0},&quot;glow&quot;:{&quot;colorType&quot;:0},&quot;line&quot;:{&quot;solidLine&quot;:{&quot;brightness&quot;:0.5,&quot;colorType&quot;:1,&quot;foreColorIndex&quot;:13,&quot;transparency&quot;:0.6000000238418579},&quot;type&quot;:1},&quot;shadow&quot;:{&quot;colorType&quot;:0},&quot;threeD&quot;:{&quot;curvedSurface&quot;:{&quot;brightness&quot;:0,&quot;colorType&quot;:2,&quot;rgb&quot;:&quot;#000000&quot;},&quot;depth&quot;:{&quot;colorType&quot;:0}}},&quot;text&quot;:{&quot;fill&quot;:{},&quot;glow&quot;:{},&quot;line&quot;:{},&quot;shadow&quot;:{},&quot;threeD&quot;:{}}}"/>
  <p:tag name="KSO_WM_UNIT_LINE_FILL_TYPE" val="2"/>
  <p:tag name="KSO_WM_UNIT_USESOURCEFORMAT_APPLY" val="1"/>
</p:tagLst>
</file>

<file path=ppt/tags/tag663.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1_3"/>
  <p:tag name="KSO_WM_UNIT_ID" val="diagram20236926_1*m_h_i*1_1_3"/>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25"/>
  <p:tag name="KSO_WM_DIAGRAM_MAX_ITEMCNT" val="5"/>
  <p:tag name="KSO_WM_DIAGRAM_MIN_ITEMCNT" val="3"/>
  <p:tag name="KSO_WM_DIAGRAM_COLOR_MATCH_VALUE" val="{&quot;shape&quot;:{&quot;fill&quot;:{&quot;solid&quot;:{&quot;brightness&quot;:-0.25,&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6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2"/>
  <p:tag name="KSO_WM_UNIT_ID" val="diagram20236926_1*m_h_i*1_1_2"/>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5"/>
  <p:tag name="KSO_WM_DIAGRAM_MIN_ITEMCNT" val="3"/>
  <p:tag name="KSO_WM_DIAGRAM_VIRTUALLY_FRAME" val="{&quot;height&quot;:354.5018920898438,&quot;left&quot;:0,&quot;top&quot;:107.53629804956631,&quot;width&quot;:960}"/>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65.xml><?xml version="1.0" encoding="utf-8"?>
<p:tagLst xmlns:p="http://schemas.openxmlformats.org/presentationml/2006/main">
  <p:tag name="KSO_WM_DIAGRAM_VIRTUALLY_FRAME" val="{&quot;height&quot;:354.5018920898438,&quot;left&quot;:0,&quot;top&quot;:107.53629804956631,&quot;width&quot;:960}"/>
  <p:tag name="KSO_WM_UNIT_ISCONTENTSTITLE" val="0"/>
  <p:tag name="KSO_WM_UNIT_ISNUMDGM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1_1"/>
  <p:tag name="KSO_WM_UNIT_ID" val="diagram20236926_1*m_h_a*1_1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添加项标题"/>
  <p:tag name="KSO_WM_UNIT_FILL_TYPE" val="3"/>
  <p:tag name="KSO_WM_DIAGRAM_MAX_ITEMCNT" val="5"/>
  <p:tag name="KSO_WM_DIAGRAM_MIN_ITEMCNT" val="3"/>
  <p:tag name="KSO_WM_DIAGRAM_COLOR_MATCH_VALUE" val="{&quot;shape&quot;:{&quot;fill&quot;:{&quot;gradient&quot;:[{&quot;brightness&quot;:0.4000000059604645,&quot;colorType&quot;:1,&quot;foreColorIndex&quot;:5,&quot;pos&quot;:0,&quot;transparency&quot;:0},{&quot;brightness&quot;:0,&quot;colorType&quot;:1,&quot;foreColorIndex&quot;:5,&quot;pos&quot;:0.7400000095367432,&quot;transparency&quot;:0},{&quot;brightness&quot;:0,&quot;colorType&quot;:1,&quot;foreColorIndex&quot;:5,&quot;pos&quot;:0.8299999833106995,&quot;transparency&quot;:0},{&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66.xml><?xml version="1.0" encoding="utf-8"?>
<p:tagLst xmlns:p="http://schemas.openxmlformats.org/presentationml/2006/main">
  <p:tag name="KSO_WM_DIAGRAM_VIRTUALLY_FRAME" val="{&quot;height&quot;:354.5018920898438,&quot;left&quot;:0,&quot;top&quot;:107.53629804956631,&quot;width&quot;:960}"/>
  <p:tag name="KSO_WM_UNIT_SUBTYPE" val="a"/>
  <p:tag name="KSO_WM_UNIT_NOCLEAR" val="0"/>
  <p:tag name="KSO_WM_UNIT_VALUE" val="33"/>
  <p:tag name="KSO_WM_UNIT_HIGHLIGHT" val="0"/>
  <p:tag name="KSO_WM_UNIT_COMPATIBLE" val="0"/>
  <p:tag name="KSO_WM_UNIT_DIAGRAM_ISNUMVISUAL" val="0"/>
  <p:tag name="KSO_WM_UNIT_DIAGRAM_ISREFERUNIT" val="0"/>
  <p:tag name="KSO_WM_DIAGRAM_GROUP_CODE" val="m1-1"/>
  <p:tag name="KSO_WM_UNIT_TYPE" val="m_h_f"/>
  <p:tag name="KSO_WM_UNIT_INDEX" val="1_1_1"/>
  <p:tag name="KSO_WM_UNIT_ID" val="diagram20236926_1*m_h_f*1_1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单击输入项正文，文字是您思想的提炼，请言简意赅的阐述观点。&#10;"/>
  <p:tag name="KSO_WM_UNIT_TEXT_FILL_FORE_SCHEMECOLOR_INDEX" val="1"/>
  <p:tag name="KSO_WM_UNIT_TEXT_FILL_TYPE" val="1"/>
  <p:tag name="KSO_WM_DIAGRAM_MAX_ITEMCNT" val="5"/>
  <p:tag name="KSO_WM_DIAGRAM_MIN_ITEMCNT" val="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67.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2_1"/>
  <p:tag name="KSO_WM_UNIT_ID" val="diagram20236926_1*m_h_i*1_2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LINE_FORE_SCHEMECOLOR_INDEX" val="13"/>
  <p:tag name="KSO_WM_DIAGRAM_MAX_ITEMCNT" val="5"/>
  <p:tag name="KSO_WM_DIAGRAM_MIN_ITEMCNT" val="3"/>
  <p:tag name="KSO_WM_DIAGRAM_COLOR_MATCH_VALUE" val="{&quot;shape&quot;:{&quot;fill&quot;:{&quot;type&quot;:0},&quot;glow&quot;:{&quot;colorType&quot;:0},&quot;line&quot;:{&quot;solidLine&quot;:{&quot;brightness&quot;:0.5,&quot;colorType&quot;:1,&quot;foreColorIndex&quot;:13,&quot;transparency&quot;:0.6000000238418579},&quot;type&quot;:1},&quot;shadow&quot;:{&quot;colorType&quot;:0},&quot;threeD&quot;:{&quot;curvedSurface&quot;:{&quot;brightness&quot;:0,&quot;colorType&quot;:2,&quot;rgb&quot;:&quot;#000000&quot;},&quot;depth&quot;:{&quot;colorType&quot;:0}}},&quot;text&quot;:{&quot;fill&quot;:{},&quot;glow&quot;:{},&quot;line&quot;:{},&quot;shadow&quot;:{},&quot;threeD&quot;:{}}}"/>
  <p:tag name="KSO_WM_UNIT_LINE_FILL_TYPE" val="2"/>
  <p:tag name="KSO_WM_UNIT_USESOURCEFORMAT_APPLY" val="1"/>
</p:tagLst>
</file>

<file path=ppt/tags/tag668.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2"/>
  <p:tag name="KSO_WM_UNIT_ID" val="diagram20236926_1*m_h_i*1_2_2"/>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5"/>
  <p:tag name="KSO_WM_DIAGRAM_MIN_ITEMCNT" val="3"/>
  <p:tag name="KSO_WM_DIAGRAM_VIRTUALLY_FRAME" val="{&quot;height&quot;:354.5018920898438,&quot;left&quot;:0,&quot;top&quot;:107.53629804956631,&quot;width&quot;:960}"/>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69.xml><?xml version="1.0" encoding="utf-8"?>
<p:tagLst xmlns:p="http://schemas.openxmlformats.org/presentationml/2006/main">
  <p:tag name="KSO_WM_DIAGRAM_VIRTUALLY_FRAME" val="{&quot;height&quot;:354.5018920898438,&quot;left&quot;:0,&quot;top&quot;:107.53629804956631,&quot;width&quot;:960}"/>
  <p:tag name="KSO_WM_UNIT_ISCONTENTSTITLE" val="0"/>
  <p:tag name="KSO_WM_UNIT_ISNUMDGM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2_1"/>
  <p:tag name="KSO_WM_UNIT_ID" val="diagram20236926_1*m_h_a*1_2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添加项标题"/>
  <p:tag name="KSO_WM_UNIT_FILL_TYPE" val="3"/>
  <p:tag name="KSO_WM_DIAGRAM_MAX_ITEMCNT" val="5"/>
  <p:tag name="KSO_WM_DIAGRAM_MIN_ITEMCNT" val="3"/>
  <p:tag name="KSO_WM_DIAGRAM_COLOR_MATCH_VALUE" val="{&quot;shape&quot;:{&quot;fill&quot;:{&quot;gradient&quot;:[{&quot;brightness&quot;:0.4000000059604645,&quot;colorType&quot;:1,&quot;foreColorIndex&quot;:5,&quot;pos&quot;:0,&quot;transparency&quot;:0},{&quot;brightness&quot;:0,&quot;colorType&quot;:1,&quot;foreColorIndex&quot;:5,&quot;pos&quot;:0.7400000095367432,&quot;transparency&quot;:0},{&quot;brightness&quot;:0,&quot;colorType&quot;:1,&quot;foreColorIndex&quot;:5,&quot;pos&quot;:0.8299999833106995,&quot;transparency&quot;:0},{&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i*1"/>
  <p:tag name="KSO_WM_UNIT_LAYERLEVEL" val="1"/>
  <p:tag name="KSO_WM_TAG_VERSION" val="3.0"/>
  <p:tag name="KSO_WM_BEAUTIFY_FLAG" val="#wm#"/>
  <p:tag name="KSO_WM_UNIT_TYPE" val="i"/>
  <p:tag name="KSO_WM_UNIT_INDEX" val="1"/>
</p:tagLst>
</file>

<file path=ppt/tags/tag670.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2_3"/>
  <p:tag name="KSO_WM_UNIT_ID" val="diagram20236926_1*m_h_i*1_2_3"/>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25"/>
  <p:tag name="KSO_WM_DIAGRAM_MAX_ITEMCNT" val="5"/>
  <p:tag name="KSO_WM_DIAGRAM_MIN_ITEMCNT" val="3"/>
  <p:tag name="KSO_WM_DIAGRAM_COLOR_MATCH_VALUE" val="{&quot;shape&quot;:{&quot;fill&quot;:{&quot;solid&quot;:{&quot;brightness&quot;:-0.25,&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71.xml><?xml version="1.0" encoding="utf-8"?>
<p:tagLst xmlns:p="http://schemas.openxmlformats.org/presentationml/2006/main">
  <p:tag name="KSO_WM_DIAGRAM_VIRTUALLY_FRAME" val="{&quot;height&quot;:354.5018920898438,&quot;left&quot;:0,&quot;top&quot;:107.53629804956631,&quot;width&quot;:960}"/>
  <p:tag name="KSO_WM_UNIT_SUBTYPE" val="a"/>
  <p:tag name="KSO_WM_UNIT_NOCLEAR" val="0"/>
  <p:tag name="KSO_WM_UNIT_VALUE" val="33"/>
  <p:tag name="KSO_WM_UNIT_HIGHLIGHT" val="0"/>
  <p:tag name="KSO_WM_UNIT_COMPATIBLE" val="0"/>
  <p:tag name="KSO_WM_UNIT_DIAGRAM_ISNUMVISUAL" val="0"/>
  <p:tag name="KSO_WM_UNIT_DIAGRAM_ISREFERUNIT" val="0"/>
  <p:tag name="KSO_WM_DIAGRAM_GROUP_CODE" val="m1-1"/>
  <p:tag name="KSO_WM_UNIT_TYPE" val="m_h_f"/>
  <p:tag name="KSO_WM_UNIT_INDEX" val="1_2_1"/>
  <p:tag name="KSO_WM_UNIT_ID" val="diagram20236926_1*m_h_f*1_2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单击输入项正文，文字是您思想的提炼，请言简意赅的阐述观点。&#10;"/>
  <p:tag name="KSO_WM_UNIT_TEXT_FILL_FORE_SCHEMECOLOR_INDEX" val="1"/>
  <p:tag name="KSO_WM_UNIT_TEXT_FILL_TYPE" val="1"/>
  <p:tag name="KSO_WM_DIAGRAM_MAX_ITEMCNT" val="5"/>
  <p:tag name="KSO_WM_DIAGRAM_MIN_ITEMCNT" val="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72.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3_1"/>
  <p:tag name="KSO_WM_UNIT_ID" val="diagram20236926_1*m_h_i*1_3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LINE_FORE_SCHEMECOLOR_INDEX" val="13"/>
  <p:tag name="KSO_WM_DIAGRAM_MAX_ITEMCNT" val="5"/>
  <p:tag name="KSO_WM_DIAGRAM_MIN_ITEMCNT" val="3"/>
  <p:tag name="KSO_WM_DIAGRAM_COLOR_MATCH_VALUE" val="{&quot;shape&quot;:{&quot;fill&quot;:{&quot;type&quot;:0},&quot;glow&quot;:{&quot;colorType&quot;:0},&quot;line&quot;:{&quot;solidLine&quot;:{&quot;brightness&quot;:0.5,&quot;colorType&quot;:1,&quot;foreColorIndex&quot;:13,&quot;transparency&quot;:0.6000000238418579},&quot;type&quot;:1},&quot;shadow&quot;:{&quot;colorType&quot;:0},&quot;threeD&quot;:{&quot;curvedSurface&quot;:{&quot;brightness&quot;:0,&quot;colorType&quot;:2,&quot;rgb&quot;:&quot;#000000&quot;},&quot;depth&quot;:{&quot;colorType&quot;:0}}},&quot;text&quot;:{&quot;fill&quot;:{},&quot;glow&quot;:{},&quot;line&quot;:{},&quot;shadow&quot;:{},&quot;threeD&quot;:{}}}"/>
  <p:tag name="KSO_WM_UNIT_LINE_FILL_TYPE" val="2"/>
  <p:tag name="KSO_WM_UNIT_USESOURCEFORMAT_APPLY" val="1"/>
</p:tagLst>
</file>

<file path=ppt/tags/tag673.xml><?xml version="1.0" encoding="utf-8"?>
<p:tagLst xmlns:p="http://schemas.openxmlformats.org/presentationml/2006/main">
  <p:tag name="KSO_WM_DIAGRAM_VIRTUALLY_FRAME" val="{&quot;height&quot;:354.5018920898438,&quot;left&quot;:0,&quot;top&quot;:107.53629804956631,&quot;width&quot;:960}"/>
  <p:tag name="KSO_WM_UNIT_HIGHLIGHT" val="0"/>
  <p:tag name="KSO_WM_UNIT_COMPATIBLE" val="0"/>
  <p:tag name="KSO_WM_UNIT_DIAGRAM_ISNUMVISUAL" val="0"/>
  <p:tag name="KSO_WM_UNIT_DIAGRAM_ISREFERUNIT" val="0"/>
  <p:tag name="KSO_WM_DIAGRAM_GROUP_CODE" val="m1-1"/>
  <p:tag name="KSO_WM_UNIT_TYPE" val="m_h_i"/>
  <p:tag name="KSO_WM_UNIT_INDEX" val="1_3_3"/>
  <p:tag name="KSO_WM_UNIT_ID" val="diagram20236926_1*m_h_i*1_3_3"/>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25"/>
  <p:tag name="KSO_WM_DIAGRAM_MAX_ITEMCNT" val="5"/>
  <p:tag name="KSO_WM_DIAGRAM_MIN_ITEMCNT" val="3"/>
  <p:tag name="KSO_WM_DIAGRAM_COLOR_MATCH_VALUE" val="{&quot;shape&quot;:{&quot;fill&quot;:{&quot;solid&quot;:{&quot;brightness&quot;:-0.25,&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7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2"/>
  <p:tag name="KSO_WM_UNIT_ID" val="diagram20236926_1*m_h_i*1_3_2"/>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5"/>
  <p:tag name="KSO_WM_DIAGRAM_MIN_ITEMCNT" val="3"/>
  <p:tag name="KSO_WM_DIAGRAM_VIRTUALLY_FRAME" val="{&quot;height&quot;:354.5018920898438,&quot;left&quot;:0,&quot;top&quot;:107.53629804956631,&quot;width&quot;:960}"/>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2"/>
  <p:tag name="KSO_WM_UNIT_TEXT_FILL_TYPE" val="1"/>
  <p:tag name="KSO_WM_UNIT_USESOURCEFORMAT_APPLY" val="1"/>
</p:tagLst>
</file>

<file path=ppt/tags/tag675.xml><?xml version="1.0" encoding="utf-8"?>
<p:tagLst xmlns:p="http://schemas.openxmlformats.org/presentationml/2006/main">
  <p:tag name="KSO_WM_DIAGRAM_VIRTUALLY_FRAME" val="{&quot;height&quot;:354.5018920898438,&quot;left&quot;:0,&quot;top&quot;:107.53629804956631,&quot;width&quot;:960}"/>
  <p:tag name="KSO_WM_UNIT_ISCONTENTSTITLE" val="0"/>
  <p:tag name="KSO_WM_UNIT_ISNUMDGM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3_1"/>
  <p:tag name="KSO_WM_UNIT_ID" val="diagram20236926_1*m_h_a*1_3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添加项标题"/>
  <p:tag name="KSO_WM_UNIT_FILL_TYPE" val="3"/>
  <p:tag name="KSO_WM_DIAGRAM_MAX_ITEMCNT" val="5"/>
  <p:tag name="KSO_WM_DIAGRAM_MIN_ITEMCNT" val="3"/>
  <p:tag name="KSO_WM_DIAGRAM_COLOR_MATCH_VALUE" val="{&quot;shape&quot;:{&quot;fill&quot;:{&quot;gradient&quot;:[{&quot;brightness&quot;:0.4000000059604645,&quot;colorType&quot;:1,&quot;foreColorIndex&quot;:5,&quot;pos&quot;:0,&quot;transparency&quot;:0},{&quot;brightness&quot;:0,&quot;colorType&quot;:1,&quot;foreColorIndex&quot;:5,&quot;pos&quot;:0.7400000095367432,&quot;transparency&quot;:0},{&quot;brightness&quot;:0,&quot;colorType&quot;:1,&quot;foreColorIndex&quot;:5,&quot;pos&quot;:0.8299999833106995,&quot;transparency&quot;:0},{&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2,&quot;rgb&quot;:&quot;#ffffff&quot;,&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76.xml><?xml version="1.0" encoding="utf-8"?>
<p:tagLst xmlns:p="http://schemas.openxmlformats.org/presentationml/2006/main">
  <p:tag name="KSO_WM_DIAGRAM_VIRTUALLY_FRAME" val="{&quot;height&quot;:354.5018920898438,&quot;left&quot;:0,&quot;top&quot;:107.53629804956631,&quot;width&quot;:960}"/>
  <p:tag name="KSO_WM_UNIT_SUBTYPE" val="a"/>
  <p:tag name="KSO_WM_UNIT_NOCLEAR" val="0"/>
  <p:tag name="KSO_WM_UNIT_VALUE" val="33"/>
  <p:tag name="KSO_WM_UNIT_HIGHLIGHT" val="0"/>
  <p:tag name="KSO_WM_UNIT_COMPATIBLE" val="0"/>
  <p:tag name="KSO_WM_UNIT_DIAGRAM_ISNUMVISUAL" val="0"/>
  <p:tag name="KSO_WM_UNIT_DIAGRAM_ISREFERUNIT" val="0"/>
  <p:tag name="KSO_WM_DIAGRAM_GROUP_CODE" val="m1-1"/>
  <p:tag name="KSO_WM_UNIT_TYPE" val="m_h_f"/>
  <p:tag name="KSO_WM_UNIT_INDEX" val="1_3_1"/>
  <p:tag name="KSO_WM_UNIT_ID" val="diagram20236926_1*m_h_f*1_3_1"/>
  <p:tag name="KSO_WM_TEMPLATE_CATEGORY" val="diagram"/>
  <p:tag name="KSO_WM_TEMPLATE_INDEX" val="20236926"/>
  <p:tag name="KSO_WM_UNIT_LAYERLEVEL" val="1_1_1"/>
  <p:tag name="KSO_WM_TAG_VERSION" val="3.0"/>
  <p:tag name="KSO_WM_BEAUTIFY_FLAG" val="#wm#"/>
  <p:tag name="KSO_WM_DIAGRAM_VERSION" val="3"/>
  <p:tag name="KSO_WM_DIAGRAM_COLOR_TRICK" val="1"/>
  <p:tag name="KSO_WM_DIAGRAM_COLOR_TEXT_CAN_REMOVE" val="n"/>
  <p:tag name="KSO_WM_UNIT_PRESET_TEXT" val="单击输入项正文，文字是您思想的提炼，请言简意赅的阐述观点。&#10;"/>
  <p:tag name="KSO_WM_UNIT_TEXT_FILL_FORE_SCHEMECOLOR_INDEX" val="1"/>
  <p:tag name="KSO_WM_UNIT_TEXT_FILL_TYPE" val="1"/>
  <p:tag name="KSO_WM_DIAGRAM_MAX_ITEMCNT" val="5"/>
  <p:tag name="KSO_WM_DIAGRAM_MIN_ITEMCNT" val="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UNIT_USESOURCEFORMAT_APPLY" val="1"/>
</p:tagLst>
</file>

<file path=ppt/tags/tag677.xml><?xml version="1.0" encoding="utf-8"?>
<p:tagLst xmlns:p="http://schemas.openxmlformats.org/presentationml/2006/main">
  <p:tag name="KSO_WM_SLIDE_TYPE" val="text"/>
  <p:tag name="KSO_WM_BEAUTIFY_FLAG" val="#wm#"/>
  <p:tag name="KSO_WM_SLIDE_ID" val="custom20230258_8"/>
  <p:tag name="KSO_WM_TEMPLATE_SUBCATEGORY" val="29"/>
  <p:tag name="KSO_WM_TEMPLATE_MASTER_TYPE" val="0"/>
  <p:tag name="KSO_WM_TEMPLATE_COLOR_TYPE" val="0"/>
  <p:tag name="KSO_WM_SLIDE_ITEM_CNT" val="0"/>
  <p:tag name="KSO_WM_SLIDE_INDEX" val="8"/>
  <p:tag name="KSO_WM_TAG_VERSION" val="3.0"/>
  <p:tag name="KSO_WM_TEMPLATE_CATEGORY" val="custom"/>
  <p:tag name="KSO_WM_TEMPLATE_INDEX" val="20230258"/>
  <p:tag name="KSO_WM_SLIDE_LAYOUT" val="a_f"/>
  <p:tag name="KSO_WM_SLIDE_LAYOUT_CNT" val="1_1"/>
  <p:tag name="KSO_WM_SLIDE_SUBTYPE" val="pureTxt"/>
  <p:tag name="KSO_WM_SLIDE_SIZE" val="864*444"/>
  <p:tag name="KSO_WM_SLIDE_POSITION" val="47*47"/>
  <p:tag name="KSO_WM_SLIDE_LAYOUT_NAME" val="标题和内容"/>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i*2"/>
  <p:tag name="KSO_WM_UNIT_LAYERLEVEL" val="1"/>
  <p:tag name="KSO_WM_TAG_VERSION" val="3.0"/>
  <p:tag name="KSO_WM_BEAUTIFY_FLAG" val="#wm#"/>
  <p:tag name="KSO_WM_UNIT_TYPE" val="i"/>
  <p:tag name="KSO_WM_UNIT_INDEX" val="2"/>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3.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f*1"/>
  <p:tag name="KSO_WM_UNIT_LAYERLEVEL" val="1"/>
  <p:tag name="KSO_WM_TAG_VERSION" val="1.0"/>
  <p:tag name="KSO_WM_BEAUTIFY_FLAG" val="#wm#"/>
  <p:tag name="KSO_WM_UNIT_SUBTYPE" val="a"/>
  <p:tag name="KSO_WM_UNIT_PRESET_TEXT" val="单击此处编辑母版文本样式&#10;二级&#10;三级&#10;四级&#10;五级"/>
  <p:tag name="KSO_WM_UNIT_NOCLEAR" val="0"/>
  <p:tag name="KSO_WM_UNIT_TYPE" val="f"/>
  <p:tag name="KSO_WM_UNIT_INDEX" val="1"/>
  <p:tag name="KSO_WM_UNIT_TEXT_LAYER_COUNT" val="1"/>
  <p:tag name="KSO_WM_TEMPLATE_CATEGORY" val="custom"/>
  <p:tag name="KSO_WM_TEMPLATE_INDEX" val="20230258"/>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a*1"/>
  <p:tag name="KSO_WM_UNIT_LAYERLEVEL" val="1"/>
  <p:tag name="KSO_WM_TAG_VERSION" val="3.0"/>
  <p:tag name="KSO_WM_BEAUTIFY_FLAG" val="#wm#"/>
  <p:tag name="KSO_WM_UNIT_ISCONTENTSTITLE" val="0"/>
  <p:tag name="KSO_WM_UNIT_ISNUMDGMTITLE" val="0"/>
  <p:tag name="KSO_WM_UNIT_PRESET_TEXT" val="单击此处编辑母版标题样式"/>
  <p:tag name="KSO_WM_UNIT_NOCLEAR" val="0"/>
  <p:tag name="KSO_WM_UNIT_TYPE" val="a"/>
  <p:tag name="KSO_WM_UNIT_INDEX" val="1"/>
  <p:tag name="KSO_WM_TEMPLATE_CATEGORY" val="custom"/>
  <p:tag name="KSO_WM_TEMPLATE_INDEX" val="20230258"/>
</p:tagLst>
</file>

<file path=ppt/tags/tag74.xml><?xml version="1.0" encoding="utf-8"?>
<p:tagLst xmlns:p="http://schemas.openxmlformats.org/presentationml/2006/main">
  <p:tag name="KSO_WM_TEMPLATE_SUBCATEGORY" val="29"/>
  <p:tag name="KSO_WM_TEMPLATE_MASTER_TYPE" val="0"/>
  <p:tag name="KSO_WM_TEMPLATE_COLOR_TYPE" val="0"/>
  <p:tag name="KSO_WM_TAG_VERSION" val="3.0"/>
  <p:tag name="KSO_WM_BEAUTIFY_FLAG" val="#wm#"/>
  <p:tag name="KSO_WM_TEMPLATE_CATEGORY" val="custom"/>
  <p:tag name="KSO_WM_TEMPLATE_INDEX" val="20230258"/>
  <p:tag name="KSO_WM_TEMPLATE_THUMBS_INDEX" val="1、9"/>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THINKCELLSHAPEDONOTDELETE" val="tEFjjKwKmteTkkbYM_UO1dQ"/>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OhDw2KbPEcrz2HIm6dngDA"/>
</p:tagLst>
</file>

<file path=ppt/tags/tag82.xml><?xml version="1.0" encoding="utf-8"?>
<p:tagLst xmlns:p="http://schemas.openxmlformats.org/presentationml/2006/main">
  <p:tag name="THINKCELLSHAPEDONOTDELETE" val="thinkcellActiveDocDoNotDelete"/>
</p:tagLst>
</file>

<file path=ppt/tags/tag83.xml><?xml version="1.0" encoding="utf-8"?>
<p:tagLst xmlns:p="http://schemas.openxmlformats.org/presentationml/2006/main">
  <p:tag name="THINKCELLSHAPEDONOTDELETE" val="taR7JQoq12udzmYLgzAeWOg"/>
</p:tagLst>
</file>

<file path=ppt/tags/tag84.xml><?xml version="1.0" encoding="utf-8"?>
<p:tagLst xmlns:p="http://schemas.openxmlformats.org/presentationml/2006/main">
  <p:tag name="THINKCELLSHAPEDONOTDELETE" val="thinkcellActiveDocDoNotDelete"/>
</p:tagLst>
</file>

<file path=ppt/tags/tag85.xml><?xml version="1.0" encoding="utf-8"?>
<p:tagLst xmlns:p="http://schemas.openxmlformats.org/presentationml/2006/main">
  <p:tag name="NAME" val="Moon"/>
</p:tagLst>
</file>

<file path=ppt/tags/tag86.xml><?xml version="1.0" encoding="utf-8"?>
<p:tagLst xmlns:p="http://schemas.openxmlformats.org/presentationml/2006/main">
  <p:tag name="NAME" val="MoonShape"/>
  <p:tag name="ANGLE" val="1"/>
</p:tagLst>
</file>

<file path=ppt/tags/tag87.xml><?xml version="1.0" encoding="utf-8"?>
<p:tagLst xmlns:p="http://schemas.openxmlformats.org/presentationml/2006/main">
  <p:tag name="NAME" val="MoonHalfShape"/>
  <p:tag name="ANGLE" val="1"/>
</p:tagLst>
</file>

<file path=ppt/tags/tag88.xml><?xml version="1.0" encoding="utf-8"?>
<p:tagLst xmlns:p="http://schemas.openxmlformats.org/presentationml/2006/main">
  <p:tag name="NAME" val="Moon"/>
</p:tagLst>
</file>

<file path=ppt/tags/tag89.xml><?xml version="1.0" encoding="utf-8"?>
<p:tagLst xmlns:p="http://schemas.openxmlformats.org/presentationml/2006/main">
  <p:tag name="NAME" val="MoonShape"/>
  <p:tag name="ANGLE" val="2"/>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f*4"/>
  <p:tag name="KSO_WM_UNIT_LAYERLEVEL" val="1"/>
  <p:tag name="KSO_WM_TAG_VERSION" val="3.0"/>
  <p:tag name="KSO_WM_BEAUTIFY_FLAG" val="#wm#"/>
  <p:tag name="KSO_WM_UNIT_SUBTYPE" val="b"/>
  <p:tag name="KSO_WM_UNIT_PRESET_TEXT" val="署名占位符"/>
  <p:tag name="KSO_WM_UNIT_NOCLEAR" val="0"/>
  <p:tag name="KSO_WM_UNIT_VALUE" val="8"/>
  <p:tag name="KSO_WM_UNIT_TYPE" val="f"/>
  <p:tag name="KSO_WM_UNIT_INDEX" val="4"/>
  <p:tag name="KSO_WM_UNIT_TEXT_LAYER_COUNT" val="1"/>
</p:tagLst>
</file>

<file path=ppt/tags/tag90.xml><?xml version="1.0" encoding="utf-8"?>
<p:tagLst xmlns:p="http://schemas.openxmlformats.org/presentationml/2006/main">
  <p:tag name="NAME" val="MoonHalfShape"/>
  <p:tag name="ANGLE" val="2"/>
</p:tagLst>
</file>

<file path=ppt/tags/tag91.xml><?xml version="1.0" encoding="utf-8"?>
<p:tagLst xmlns:p="http://schemas.openxmlformats.org/presentationml/2006/main">
  <p:tag name="NAME" val="Moon"/>
</p:tagLst>
</file>

<file path=ppt/tags/tag92.xml><?xml version="1.0" encoding="utf-8"?>
<p:tagLst xmlns:p="http://schemas.openxmlformats.org/presentationml/2006/main">
  <p:tag name="NAME" val="MoonShape"/>
  <p:tag name="ANGLE" val="4"/>
</p:tagLst>
</file>

<file path=ppt/tags/tag93.xml><?xml version="1.0" encoding="utf-8"?>
<p:tagLst xmlns:p="http://schemas.openxmlformats.org/presentationml/2006/main">
  <p:tag name="NAME" val="MoonHalfShape"/>
  <p:tag name="ANGLE" val="4"/>
</p:tagLst>
</file>

<file path=ppt/tags/tag94.xml><?xml version="1.0" encoding="utf-8"?>
<p:tagLst xmlns:p="http://schemas.openxmlformats.org/presentationml/2006/main">
  <p:tag name="NAME" val="Moon"/>
</p:tagLst>
</file>

<file path=ppt/tags/tag95.xml><?xml version="1.0" encoding="utf-8"?>
<p:tagLst xmlns:p="http://schemas.openxmlformats.org/presentationml/2006/main">
  <p:tag name="NAME" val="MoonShape"/>
  <p:tag name="ANGLE" val="5"/>
</p:tagLst>
</file>

<file path=ppt/tags/tag96.xml><?xml version="1.0" encoding="utf-8"?>
<p:tagLst xmlns:p="http://schemas.openxmlformats.org/presentationml/2006/main">
  <p:tag name="NAME" val="MoonHalfShape"/>
  <p:tag name="ANGLE" val="5"/>
</p:tagLst>
</file>

<file path=ppt/tags/tag97.xml><?xml version="1.0" encoding="utf-8"?>
<p:tagLst xmlns:p="http://schemas.openxmlformats.org/presentationml/2006/main">
  <p:tag name="NAME" val="Moon"/>
</p:tagLst>
</file>

<file path=ppt/tags/tag98.xml><?xml version="1.0" encoding="utf-8"?>
<p:tagLst xmlns:p="http://schemas.openxmlformats.org/presentationml/2006/main">
  <p:tag name="NAME" val="MoonShape"/>
  <p:tag name="ANGLE" val="3"/>
</p:tagLst>
</file>

<file path=ppt/tags/tag99.xml><?xml version="1.0" encoding="utf-8"?>
<p:tagLst xmlns:p="http://schemas.openxmlformats.org/presentationml/2006/main">
  <p:tag name="NAME" val="MoonHalfShape"/>
  <p:tag name="ANGLE" val="4"/>
</p:tagLst>
</file>

<file path=ppt/theme/theme1.xml><?xml version="1.0" encoding="utf-8"?>
<a:theme xmlns:a="http://schemas.openxmlformats.org/drawingml/2006/main" name="1_Office 主题">
  <a:themeElements>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自定义 17">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9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微软雅黑"/>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微软雅黑"/>
        <a:ea typeface=""/>
        <a:cs typeface=""/>
        <a:font script="Jpan" typeface="ＭＳ Ｐゴシック"/>
        <a:font script="Hang" typeface="맑은 고딕"/>
        <a:font script="Hans" typeface="宋体"/>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彩色7">
    <a:dk1>
      <a:srgbClr val="000000"/>
    </a:dk1>
    <a:lt1>
      <a:srgbClr val="FFFFFF"/>
    </a:lt1>
    <a:dk2>
      <a:srgbClr val="44546A"/>
    </a:dk2>
    <a:lt2>
      <a:srgbClr val="E7E6E6"/>
    </a:lt2>
    <a:accent1>
      <a:srgbClr val="31BE61"/>
    </a:accent1>
    <a:accent2>
      <a:srgbClr val="FFC800"/>
    </a:accent2>
    <a:accent3>
      <a:srgbClr val="3F7BF9"/>
    </a:accent3>
    <a:accent4>
      <a:srgbClr val="FF5F69"/>
    </a:accent4>
    <a:accent5>
      <a:srgbClr val="644FFF"/>
    </a:accent5>
    <a:accent6>
      <a:srgbClr val="761DF8"/>
    </a:accent6>
    <a:hlink>
      <a:srgbClr val="0026E5"/>
    </a:hlink>
    <a:folHlink>
      <a:srgbClr val="7E1FAD"/>
    </a:folHlink>
  </a:clrScheme>
  <a:fontScheme name="MiSans">
    <a:majorFont>
      <a:latin typeface="MiSans Heavy"/>
      <a:ea typeface="MiSans Heavy"/>
      <a:cs typeface=""/>
    </a:majorFont>
    <a:minorFont>
      <a:latin typeface="MiSans Normal"/>
      <a:ea typeface="MiSans Norma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彩色7">
    <a:dk1>
      <a:srgbClr val="000000"/>
    </a:dk1>
    <a:lt1>
      <a:srgbClr val="FFFFFF"/>
    </a:lt1>
    <a:dk2>
      <a:srgbClr val="44546A"/>
    </a:dk2>
    <a:lt2>
      <a:srgbClr val="E7E6E6"/>
    </a:lt2>
    <a:accent1>
      <a:srgbClr val="31BE61"/>
    </a:accent1>
    <a:accent2>
      <a:srgbClr val="FFC800"/>
    </a:accent2>
    <a:accent3>
      <a:srgbClr val="3F7BF9"/>
    </a:accent3>
    <a:accent4>
      <a:srgbClr val="FF5F69"/>
    </a:accent4>
    <a:accent5>
      <a:srgbClr val="644FFF"/>
    </a:accent5>
    <a:accent6>
      <a:srgbClr val="761DF8"/>
    </a:accent6>
    <a:hlink>
      <a:srgbClr val="0026E5"/>
    </a:hlink>
    <a:folHlink>
      <a:srgbClr val="7E1FAD"/>
    </a:folHlink>
  </a:clrScheme>
  <a:fontScheme name="MiSans">
    <a:majorFont>
      <a:latin typeface="MiSans Heavy"/>
      <a:ea typeface="MiSans Heavy"/>
      <a:cs typeface=""/>
    </a:majorFont>
    <a:minorFont>
      <a:latin typeface="MiSans Normal"/>
      <a:ea typeface="MiSans Norma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商务蓝">
    <a:dk1>
      <a:srgbClr val="000000"/>
    </a:dk1>
    <a:lt1>
      <a:srgbClr val="FFFFFF"/>
    </a:lt1>
    <a:dk2>
      <a:srgbClr val="44546A"/>
    </a:dk2>
    <a:lt2>
      <a:srgbClr val="E7E6E6"/>
    </a:lt2>
    <a:accent1>
      <a:srgbClr val="0D208B"/>
    </a:accent1>
    <a:accent2>
      <a:srgbClr val="0174CD"/>
    </a:accent2>
    <a:accent3>
      <a:srgbClr val="4499D9"/>
    </a:accent3>
    <a:accent4>
      <a:srgbClr val="63A8DE"/>
    </a:accent4>
    <a:accent5>
      <a:srgbClr val="A6CAE7"/>
    </a:accent5>
    <a:accent6>
      <a:srgbClr val="D1E1F5"/>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839</Words>
  <Application>WPS 演示</Application>
  <PresentationFormat>宽屏</PresentationFormat>
  <Paragraphs>78</Paragraphs>
  <Slides>5</Slides>
  <Notes>4</Notes>
  <HiddenSlides>0</HiddenSlides>
  <MMClips>0</MMClips>
  <ScaleCrop>false</ScaleCrop>
  <HeadingPairs>
    <vt:vector size="8" baseType="variant">
      <vt:variant>
        <vt:lpstr>已用的字体</vt:lpstr>
      </vt:variant>
      <vt:variant>
        <vt:i4>17</vt:i4>
      </vt:variant>
      <vt:variant>
        <vt:lpstr>主题</vt:lpstr>
      </vt:variant>
      <vt:variant>
        <vt:i4>15</vt:i4>
      </vt:variant>
      <vt:variant>
        <vt:lpstr>嵌入 OLE 服务器</vt:lpstr>
      </vt:variant>
      <vt:variant>
        <vt:i4>104</vt:i4>
      </vt:variant>
      <vt:variant>
        <vt:lpstr>幻灯片标题</vt:lpstr>
      </vt:variant>
      <vt:variant>
        <vt:i4>5</vt:i4>
      </vt:variant>
    </vt:vector>
  </HeadingPairs>
  <TitlesOfParts>
    <vt:vector size="141" baseType="lpstr">
      <vt:lpstr>Arial</vt:lpstr>
      <vt:lpstr>宋体</vt:lpstr>
      <vt:lpstr>Wingdings</vt:lpstr>
      <vt:lpstr>微软雅黑</vt:lpstr>
      <vt:lpstr>Wingdings</vt:lpstr>
      <vt:lpstr>Calibri Light</vt:lpstr>
      <vt:lpstr>Franklin Gothic Medium Cond</vt:lpstr>
      <vt:lpstr>Calibri Light</vt:lpstr>
      <vt:lpstr>黑体</vt:lpstr>
      <vt:lpstr>等线</vt:lpstr>
      <vt:lpstr>Calibri</vt:lpstr>
      <vt:lpstr>幼圆</vt:lpstr>
      <vt:lpstr>Arial Unicode MS</vt:lpstr>
      <vt:lpstr>Franklin Gothic Medium</vt:lpstr>
      <vt:lpstr>Alibaba PuHuiTi</vt:lpstr>
      <vt:lpstr>KSOFF12B6E69</vt:lpstr>
      <vt:lpstr>Segoe Print</vt:lpstr>
      <vt:lpstr>1_Office 主题</vt:lpstr>
      <vt:lpstr>Office Theme</vt:lpstr>
      <vt:lpstr>9781LV_CF</vt:lpstr>
      <vt:lpstr>1_9781LV_CF</vt:lpstr>
      <vt:lpstr>3_9781LV_CF</vt:lpstr>
      <vt:lpstr>4_9781LV_CF</vt:lpstr>
      <vt:lpstr>5_9781LV_CF</vt:lpstr>
      <vt:lpstr>6_9781LV_CF</vt:lpstr>
      <vt:lpstr>7_9781LV_CF</vt:lpstr>
      <vt:lpstr>8_9781LV_CF</vt:lpstr>
      <vt:lpstr>11_9781LV_CF</vt:lpstr>
      <vt:lpstr>9_9781LV_CF</vt:lpstr>
      <vt:lpstr>2_9781LV_CF</vt:lpstr>
      <vt:lpstr>13_9781LV_CF</vt:lpstr>
      <vt:lpstr>14_9781LV_CF</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森E会2025年 系统运维汇报</vt:lpstr>
      <vt:lpstr>2025年工作成果展示</vt:lpstr>
      <vt:lpstr>运维需求工作成果展示</vt:lpstr>
      <vt:lpstr>反思与成长</vt:lpstr>
      <vt:lpstr>2026年工作计划</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
  <cp:lastModifiedBy>,</cp:lastModifiedBy>
  <cp:revision>261</cp:revision>
  <dcterms:created xsi:type="dcterms:W3CDTF">2019-06-19T02:08:00Z</dcterms:created>
  <dcterms:modified xsi:type="dcterms:W3CDTF">2026-01-19T06:0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24657</vt:lpwstr>
  </property>
  <property fmtid="{D5CDD505-2E9C-101B-9397-08002B2CF9AE}" pid="3" name="ICV">
    <vt:lpwstr>E5216D81CCA949EC8D1CA798D3EDE870_13</vt:lpwstr>
  </property>
</Properties>
</file>